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2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3.xml" ContentType="application/vnd.openxmlformats-officedocument.theme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7" r:id="rId2"/>
    <p:sldMasterId id="2147483762" r:id="rId3"/>
    <p:sldMasterId id="2147483817" r:id="rId4"/>
    <p:sldMasterId id="2147483864" r:id="rId5"/>
  </p:sldMasterIdLst>
  <p:notesMasterIdLst>
    <p:notesMasterId r:id="rId12"/>
  </p:notesMasterIdLst>
  <p:sldIdLst>
    <p:sldId id="2134804593" r:id="rId6"/>
    <p:sldId id="1231" r:id="rId7"/>
    <p:sldId id="1298" r:id="rId8"/>
    <p:sldId id="1297" r:id="rId9"/>
    <p:sldId id="1201" r:id="rId10"/>
    <p:sldId id="2134804592" r:id="rId11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5B3A2FA-2B7E-24A3-63F4-44EBB786052B}" name="Tomášková, Jaroslava (RC-CZ CM MC)" initials="JT" userId="S::jaroslava.tomaskova@siemens.com::7f127cb5-8c15-4dc9-a9be-0ea9f9a0292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2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0" d="100"/>
          <a:sy n="80" d="100"/>
        </p:scale>
        <p:origin x="13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47F3BB-3D73-4A88-80F7-4452977A4364}" type="datetimeFigureOut">
              <a:rPr lang="en-US" smtClean="0"/>
              <a:t>10/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ED05D7-1675-4985-B91D-34492F6DED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3607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7207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19125"/>
            <a:ext cx="6048375" cy="340201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2"/>
                </a:solidFill>
              </a:rPr>
              <a:t>Notes</a:t>
            </a:r>
            <a:r>
              <a:rPr lang="en-US" dirty="0"/>
              <a:t> </a:t>
            </a:r>
            <a:fld id="{E76C657F-0E32-4130-ADDA-66B81138A76A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7655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3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6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3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8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6.sv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9.svg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svg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sv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3.emf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5.sv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svg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7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5.sv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sv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7.sv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7.sv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3.sv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6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9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3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6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9.sv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sv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sv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7.sv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62F166-79F2-4777-80D7-5F9443A4B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2406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462F166-79F2-4777-80D7-5F9443A4B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242F1E1-A3AD-47F2-98FC-8CB463AB34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8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Cognisphere">
            <a:extLst>
              <a:ext uri="{FF2B5EF4-FFF2-40B4-BE49-F238E27FC236}">
                <a16:creationId xmlns:a16="http://schemas.microsoft.com/office/drawing/2014/main" id="{425A07C0-2C98-4684-A31B-ED04F14FA2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803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7123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3029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Department etc.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2639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fireworks, star, table, sky&#10;&#10;Description automatically generate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7278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close up of a light&#10;&#10;Description automatically generate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067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A picture containing light, star&#10;&#10;Description automatically generate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497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7815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Background pattern&#10;&#10;Description automatically generated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508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3589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6180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3886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34982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1257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71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644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5291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0187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61521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709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74497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2102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00984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0092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64012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7485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4078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6993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456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4572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6311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992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0512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24935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178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35911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4860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A picture containing chart&#10;&#10;Description automatically generate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559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2893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755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9052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125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581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fish, monitor, keyboard, computer&#10;&#10;Description automatically generate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2711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63782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A picture containing sky, water, star&#10;&#10;Description automatically generated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5131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735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5912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73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281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379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046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4229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701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6474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5388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7938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9069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014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3372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2419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71056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1163" y="1234800"/>
            <a:ext cx="9863237" cy="1162523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54000" rIns="0" bIns="0" anchor="t" anchorCtr="0">
            <a:spAutoFit/>
          </a:bodyPr>
          <a:lstStyle>
            <a:lvl1pPr marL="540000"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ontact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 dirty="0"/>
              <a:t>Click to edit the contact</a:t>
            </a:r>
          </a:p>
          <a:p>
            <a:pPr lvl="1"/>
            <a:r>
              <a:rPr lang="en-US" dirty="0"/>
              <a:t>Name etc.</a:t>
            </a:r>
          </a:p>
          <a:p>
            <a:pPr lvl="2"/>
            <a:r>
              <a:rPr lang="en-US" dirty="0"/>
              <a:t>Department etc.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16475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62F166-79F2-4777-80D7-5F9443A4B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7238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462F166-79F2-4777-80D7-5F9443A4B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242F1E1-A3AD-47F2-98FC-8CB463AB34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8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Cognisphere">
            <a:extLst>
              <a:ext uri="{FF2B5EF4-FFF2-40B4-BE49-F238E27FC236}">
                <a16:creationId xmlns:a16="http://schemas.microsoft.com/office/drawing/2014/main" id="{425A07C0-2C98-4684-A31B-ED04F14FA2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803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4191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E3115208-3E9A-4F24-B4C9-D1085C300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017"/>
          <a:stretch/>
        </p:blipFill>
        <p:spPr>
          <a:xfrm>
            <a:off x="404812" y="0"/>
            <a:ext cx="11787188" cy="6858000"/>
          </a:xfrm>
          <a:custGeom>
            <a:avLst/>
            <a:gdLst>
              <a:gd name="connsiteX0" fmla="*/ 0 w 11787188"/>
              <a:gd name="connsiteY0" fmla="*/ 0 h 6858000"/>
              <a:gd name="connsiteX1" fmla="*/ 11787188 w 11787188"/>
              <a:gd name="connsiteY1" fmla="*/ 0 h 6858000"/>
              <a:gd name="connsiteX2" fmla="*/ 11787188 w 11787188"/>
              <a:gd name="connsiteY2" fmla="*/ 5919537 h 6858000"/>
              <a:gd name="connsiteX3" fmla="*/ 9545304 w 11787188"/>
              <a:gd name="connsiteY3" fmla="*/ 5919537 h 6858000"/>
              <a:gd name="connsiteX4" fmla="*/ 9545304 w 11787188"/>
              <a:gd name="connsiteY4" fmla="*/ 6858000 h 6858000"/>
              <a:gd name="connsiteX5" fmla="*/ 0 w 1178718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87188" h="6858000">
                <a:moveTo>
                  <a:pt x="0" y="0"/>
                </a:moveTo>
                <a:lnTo>
                  <a:pt x="11787188" y="0"/>
                </a:lnTo>
                <a:lnTo>
                  <a:pt x="11787188" y="5919537"/>
                </a:lnTo>
                <a:lnTo>
                  <a:pt x="9545304" y="5919537"/>
                </a:lnTo>
                <a:lnTo>
                  <a:pt x="954530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5082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C23ABC29-C5E7-4C8C-8ED9-0C892DBB03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938"/>
          <a:stretch/>
        </p:blipFill>
        <p:spPr>
          <a:xfrm rot="5400000">
            <a:off x="2872582" y="-2461419"/>
            <a:ext cx="6858000" cy="11780837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994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light, green, traffic&#10;&#10;Description automatically generated">
            <a:extLst>
              <a:ext uri="{FF2B5EF4-FFF2-40B4-BE49-F238E27FC236}">
                <a16:creationId xmlns:a16="http://schemas.microsoft.com/office/drawing/2014/main" id="{56EBB59A-6013-4BC8-99EE-FC7587A68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7927"/>
          <a:stretch/>
        </p:blipFill>
        <p:spPr>
          <a:xfrm rot="16200000">
            <a:off x="2869406" y="-2464594"/>
            <a:ext cx="6858000" cy="11787188"/>
          </a:xfrm>
          <a:custGeom>
            <a:avLst/>
            <a:gdLst>
              <a:gd name="connsiteX0" fmla="*/ 6858000 w 6858000"/>
              <a:gd name="connsiteY0" fmla="*/ 0 h 11787188"/>
              <a:gd name="connsiteX1" fmla="*/ 6858000 w 6858000"/>
              <a:gd name="connsiteY1" fmla="*/ 11787188 h 11787188"/>
              <a:gd name="connsiteX2" fmla="*/ 745958 w 6858000"/>
              <a:gd name="connsiteY2" fmla="*/ 11787188 h 11787188"/>
              <a:gd name="connsiteX3" fmla="*/ 745958 w 6858000"/>
              <a:gd name="connsiteY3" fmla="*/ 9702286 h 11787188"/>
              <a:gd name="connsiteX4" fmla="*/ 0 w 6858000"/>
              <a:gd name="connsiteY4" fmla="*/ 9702286 h 11787188"/>
              <a:gd name="connsiteX5" fmla="*/ 0 w 6858000"/>
              <a:gd name="connsiteY5" fmla="*/ 8202780 h 11787188"/>
              <a:gd name="connsiteX6" fmla="*/ 0 w 6858000"/>
              <a:gd name="connsiteY6" fmla="*/ 6838770 h 11787188"/>
              <a:gd name="connsiteX7" fmla="*/ 0 w 6858000"/>
              <a:gd name="connsiteY7" fmla="*/ 0 h 1178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11787188">
                <a:moveTo>
                  <a:pt x="6858000" y="0"/>
                </a:moveTo>
                <a:lnTo>
                  <a:pt x="6858000" y="11787188"/>
                </a:lnTo>
                <a:lnTo>
                  <a:pt x="745958" y="11787188"/>
                </a:lnTo>
                <a:lnTo>
                  <a:pt x="745958" y="9702286"/>
                </a:lnTo>
                <a:lnTo>
                  <a:pt x="0" y="9702286"/>
                </a:lnTo>
                <a:lnTo>
                  <a:pt x="0" y="8202780"/>
                </a:lnTo>
                <a:lnTo>
                  <a:pt x="0" y="683877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0573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C2CEA4C1-9D9C-4523-9656-F00A59A31B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9994"/>
          <a:stretch/>
        </p:blipFill>
        <p:spPr>
          <a:xfrm rot="10800000">
            <a:off x="404812" y="0"/>
            <a:ext cx="11787188" cy="6858000"/>
          </a:xfrm>
          <a:custGeom>
            <a:avLst/>
            <a:gdLst>
              <a:gd name="connsiteX0" fmla="*/ 11787188 w 11787188"/>
              <a:gd name="connsiteY0" fmla="*/ 6858000 h 6858000"/>
              <a:gd name="connsiteX1" fmla="*/ 0 w 11787188"/>
              <a:gd name="connsiteY1" fmla="*/ 6858000 h 6858000"/>
              <a:gd name="connsiteX2" fmla="*/ 0 w 11787188"/>
              <a:gd name="connsiteY2" fmla="*/ 1414464 h 6858000"/>
              <a:gd name="connsiteX3" fmla="*/ 630221 w 11787188"/>
              <a:gd name="connsiteY3" fmla="*/ 1414464 h 6858000"/>
              <a:gd name="connsiteX4" fmla="*/ 630221 w 11787188"/>
              <a:gd name="connsiteY4" fmla="*/ 649705 h 6858000"/>
              <a:gd name="connsiteX5" fmla="*/ 1917600 w 11787188"/>
              <a:gd name="connsiteY5" fmla="*/ 649705 h 6858000"/>
              <a:gd name="connsiteX6" fmla="*/ 1917600 w 11787188"/>
              <a:gd name="connsiteY6" fmla="*/ 0 h 6858000"/>
              <a:gd name="connsiteX7" fmla="*/ 11787188 w 11787188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87188" h="6858000">
                <a:moveTo>
                  <a:pt x="11787188" y="6858000"/>
                </a:moveTo>
                <a:lnTo>
                  <a:pt x="0" y="6858000"/>
                </a:lnTo>
                <a:lnTo>
                  <a:pt x="0" y="1414464"/>
                </a:lnTo>
                <a:lnTo>
                  <a:pt x="630221" y="1414464"/>
                </a:lnTo>
                <a:lnTo>
                  <a:pt x="630221" y="649705"/>
                </a:lnTo>
                <a:lnTo>
                  <a:pt x="1917600" y="649705"/>
                </a:lnTo>
                <a:lnTo>
                  <a:pt x="1917600" y="0"/>
                </a:lnTo>
                <a:lnTo>
                  <a:pt x="11787188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952648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1913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CD68F259-AA3E-4A60-88DB-14C10A07F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864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30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475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2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094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7169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258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3829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5522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72601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3282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873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51151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955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2885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4651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466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95892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3431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9816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9083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4180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CA7FD744-5012-40FC-8106-A5602D972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16200000">
            <a:off x="5824540" y="490535"/>
            <a:ext cx="6858003" cy="5876925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549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7153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tage">
            <a:extLst>
              <a:ext uri="{FF2B5EF4-FFF2-40B4-BE49-F238E27FC236}">
                <a16:creationId xmlns:a16="http://schemas.microsoft.com/office/drawing/2014/main" id="{3736255E-953B-46D8-9F91-117AAB8492F2}"/>
              </a:ext>
            </a:extLst>
          </p:cNvPr>
          <p:cNvSpPr/>
          <p:nvPr userDrawn="1"/>
        </p:nvSpPr>
        <p:spPr>
          <a:xfrm>
            <a:off x="0" y="1414463"/>
            <a:ext cx="12191999" cy="4752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75837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3966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290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231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167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62778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463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5181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120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088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4006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980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049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4557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1786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643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1963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259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433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953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1437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E3115208-3E9A-4F24-B4C9-D1085C300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017"/>
          <a:stretch/>
        </p:blipFill>
        <p:spPr>
          <a:xfrm>
            <a:off x="404812" y="0"/>
            <a:ext cx="11787188" cy="6858000"/>
          </a:xfrm>
          <a:custGeom>
            <a:avLst/>
            <a:gdLst>
              <a:gd name="connsiteX0" fmla="*/ 0 w 11787188"/>
              <a:gd name="connsiteY0" fmla="*/ 0 h 6858000"/>
              <a:gd name="connsiteX1" fmla="*/ 11787188 w 11787188"/>
              <a:gd name="connsiteY1" fmla="*/ 0 h 6858000"/>
              <a:gd name="connsiteX2" fmla="*/ 11787188 w 11787188"/>
              <a:gd name="connsiteY2" fmla="*/ 5919537 h 6858000"/>
              <a:gd name="connsiteX3" fmla="*/ 9545304 w 11787188"/>
              <a:gd name="connsiteY3" fmla="*/ 5919537 h 6858000"/>
              <a:gd name="connsiteX4" fmla="*/ 9545304 w 11787188"/>
              <a:gd name="connsiteY4" fmla="*/ 6858000 h 6858000"/>
              <a:gd name="connsiteX5" fmla="*/ 0 w 1178718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87188" h="6858000">
                <a:moveTo>
                  <a:pt x="0" y="0"/>
                </a:moveTo>
                <a:lnTo>
                  <a:pt x="11787188" y="0"/>
                </a:lnTo>
                <a:lnTo>
                  <a:pt x="11787188" y="5919537"/>
                </a:lnTo>
                <a:lnTo>
                  <a:pt x="9545304" y="5919537"/>
                </a:lnTo>
                <a:lnTo>
                  <a:pt x="954530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1498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4574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34800"/>
            <a:ext cx="9288000" cy="1162523"/>
          </a:xfrm>
        </p:spPr>
        <p:txBody>
          <a:bodyPr wrap="square" lIns="0" tIns="54000" rIns="0" bIns="0" anchor="t" anchorCtr="0">
            <a:spAutoFit/>
          </a:bodyPr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 info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65864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62F166-79F2-4777-80D7-5F9443A4B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2089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462F166-79F2-4777-80D7-5F9443A4B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9242F1E1-A3AD-47F2-98FC-8CB463AB34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8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7" name="Cognisphere">
            <a:extLst>
              <a:ext uri="{FF2B5EF4-FFF2-40B4-BE49-F238E27FC236}">
                <a16:creationId xmlns:a16="http://schemas.microsoft.com/office/drawing/2014/main" id="{425A07C0-2C98-4684-A31B-ED04F14FA2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4803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3008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E3115208-3E9A-4F24-B4C9-D1085C300B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6017"/>
          <a:stretch/>
        </p:blipFill>
        <p:spPr>
          <a:xfrm>
            <a:off x="404812" y="0"/>
            <a:ext cx="11787188" cy="6858000"/>
          </a:xfrm>
          <a:custGeom>
            <a:avLst/>
            <a:gdLst>
              <a:gd name="connsiteX0" fmla="*/ 0 w 11787188"/>
              <a:gd name="connsiteY0" fmla="*/ 0 h 6858000"/>
              <a:gd name="connsiteX1" fmla="*/ 11787188 w 11787188"/>
              <a:gd name="connsiteY1" fmla="*/ 0 h 6858000"/>
              <a:gd name="connsiteX2" fmla="*/ 11787188 w 11787188"/>
              <a:gd name="connsiteY2" fmla="*/ 5919537 h 6858000"/>
              <a:gd name="connsiteX3" fmla="*/ 9545304 w 11787188"/>
              <a:gd name="connsiteY3" fmla="*/ 5919537 h 6858000"/>
              <a:gd name="connsiteX4" fmla="*/ 9545304 w 11787188"/>
              <a:gd name="connsiteY4" fmla="*/ 6858000 h 6858000"/>
              <a:gd name="connsiteX5" fmla="*/ 0 w 1178718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787188" h="6858000">
                <a:moveTo>
                  <a:pt x="0" y="0"/>
                </a:moveTo>
                <a:lnTo>
                  <a:pt x="11787188" y="0"/>
                </a:lnTo>
                <a:lnTo>
                  <a:pt x="11787188" y="5919537"/>
                </a:lnTo>
                <a:lnTo>
                  <a:pt x="9545304" y="5919537"/>
                </a:lnTo>
                <a:lnTo>
                  <a:pt x="954530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M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3579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C23ABC29-C5E7-4C8C-8ED9-0C892DBB03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938"/>
          <a:stretch/>
        </p:blipFill>
        <p:spPr>
          <a:xfrm rot="5400000">
            <a:off x="2872582" y="-2461419"/>
            <a:ext cx="6858000" cy="11780837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9681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light, green, traffic&#10;&#10;Description automatically generated">
            <a:extLst>
              <a:ext uri="{FF2B5EF4-FFF2-40B4-BE49-F238E27FC236}">
                <a16:creationId xmlns:a16="http://schemas.microsoft.com/office/drawing/2014/main" id="{56EBB59A-6013-4BC8-99EE-FC7587A68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7927"/>
          <a:stretch/>
        </p:blipFill>
        <p:spPr>
          <a:xfrm rot="16200000">
            <a:off x="2869406" y="-2464594"/>
            <a:ext cx="6858000" cy="11787188"/>
          </a:xfrm>
          <a:custGeom>
            <a:avLst/>
            <a:gdLst>
              <a:gd name="connsiteX0" fmla="*/ 6858000 w 6858000"/>
              <a:gd name="connsiteY0" fmla="*/ 0 h 11787188"/>
              <a:gd name="connsiteX1" fmla="*/ 6858000 w 6858000"/>
              <a:gd name="connsiteY1" fmla="*/ 11787188 h 11787188"/>
              <a:gd name="connsiteX2" fmla="*/ 745958 w 6858000"/>
              <a:gd name="connsiteY2" fmla="*/ 11787188 h 11787188"/>
              <a:gd name="connsiteX3" fmla="*/ 745958 w 6858000"/>
              <a:gd name="connsiteY3" fmla="*/ 9702286 h 11787188"/>
              <a:gd name="connsiteX4" fmla="*/ 0 w 6858000"/>
              <a:gd name="connsiteY4" fmla="*/ 9702286 h 11787188"/>
              <a:gd name="connsiteX5" fmla="*/ 0 w 6858000"/>
              <a:gd name="connsiteY5" fmla="*/ 8202780 h 11787188"/>
              <a:gd name="connsiteX6" fmla="*/ 0 w 6858000"/>
              <a:gd name="connsiteY6" fmla="*/ 6838770 h 11787188"/>
              <a:gd name="connsiteX7" fmla="*/ 0 w 6858000"/>
              <a:gd name="connsiteY7" fmla="*/ 0 h 1178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11787188">
                <a:moveTo>
                  <a:pt x="6858000" y="0"/>
                </a:moveTo>
                <a:lnTo>
                  <a:pt x="6858000" y="11787188"/>
                </a:lnTo>
                <a:lnTo>
                  <a:pt x="745958" y="11787188"/>
                </a:lnTo>
                <a:lnTo>
                  <a:pt x="745958" y="9702286"/>
                </a:lnTo>
                <a:lnTo>
                  <a:pt x="0" y="9702286"/>
                </a:lnTo>
                <a:lnTo>
                  <a:pt x="0" y="8202780"/>
                </a:lnTo>
                <a:lnTo>
                  <a:pt x="0" y="683877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650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C2CEA4C1-9D9C-4523-9656-F00A59A31B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9994"/>
          <a:stretch/>
        </p:blipFill>
        <p:spPr>
          <a:xfrm rot="10800000">
            <a:off x="404812" y="0"/>
            <a:ext cx="11787188" cy="6858000"/>
          </a:xfrm>
          <a:custGeom>
            <a:avLst/>
            <a:gdLst>
              <a:gd name="connsiteX0" fmla="*/ 11787188 w 11787188"/>
              <a:gd name="connsiteY0" fmla="*/ 6858000 h 6858000"/>
              <a:gd name="connsiteX1" fmla="*/ 0 w 11787188"/>
              <a:gd name="connsiteY1" fmla="*/ 6858000 h 6858000"/>
              <a:gd name="connsiteX2" fmla="*/ 0 w 11787188"/>
              <a:gd name="connsiteY2" fmla="*/ 1414464 h 6858000"/>
              <a:gd name="connsiteX3" fmla="*/ 630221 w 11787188"/>
              <a:gd name="connsiteY3" fmla="*/ 1414464 h 6858000"/>
              <a:gd name="connsiteX4" fmla="*/ 630221 w 11787188"/>
              <a:gd name="connsiteY4" fmla="*/ 649705 h 6858000"/>
              <a:gd name="connsiteX5" fmla="*/ 1917600 w 11787188"/>
              <a:gd name="connsiteY5" fmla="*/ 649705 h 6858000"/>
              <a:gd name="connsiteX6" fmla="*/ 1917600 w 11787188"/>
              <a:gd name="connsiteY6" fmla="*/ 0 h 6858000"/>
              <a:gd name="connsiteX7" fmla="*/ 11787188 w 11787188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87188" h="6858000">
                <a:moveTo>
                  <a:pt x="11787188" y="6858000"/>
                </a:moveTo>
                <a:lnTo>
                  <a:pt x="0" y="6858000"/>
                </a:lnTo>
                <a:lnTo>
                  <a:pt x="0" y="1414464"/>
                </a:lnTo>
                <a:lnTo>
                  <a:pt x="630221" y="1414464"/>
                </a:lnTo>
                <a:lnTo>
                  <a:pt x="630221" y="649705"/>
                </a:lnTo>
                <a:lnTo>
                  <a:pt x="1917600" y="649705"/>
                </a:lnTo>
                <a:lnTo>
                  <a:pt x="1917600" y="0"/>
                </a:lnTo>
                <a:lnTo>
                  <a:pt x="11787188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3194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CD68F259-AA3E-4A60-88DB-14C10A07F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864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0129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5895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2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60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1856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4718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2121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28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2204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94154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5869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2538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32000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1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6757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line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646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3135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091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863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47203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4622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1966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1295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3146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CA7FD744-5012-40FC-8106-A5602D972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16200000">
            <a:off x="5824540" y="490535"/>
            <a:ext cx="6858003" cy="5876925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507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tage">
            <a:extLst>
              <a:ext uri="{FF2B5EF4-FFF2-40B4-BE49-F238E27FC236}">
                <a16:creationId xmlns:a16="http://schemas.microsoft.com/office/drawing/2014/main" id="{3736255E-953B-46D8-9F91-117AAB8492F2}"/>
              </a:ext>
            </a:extLst>
          </p:cNvPr>
          <p:cNvSpPr/>
          <p:nvPr userDrawn="1"/>
        </p:nvSpPr>
        <p:spPr>
          <a:xfrm>
            <a:off x="0" y="1414463"/>
            <a:ext cx="12191999" cy="4752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539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6140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5809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377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11376788" cy="2769989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9841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7019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0587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1519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2203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0951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59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4567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0696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964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365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399" y="1414463"/>
            <a:ext cx="11370437" cy="246221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9442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510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142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5026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5143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976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2604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34800"/>
            <a:ext cx="9288000" cy="1162523"/>
          </a:xfrm>
        </p:spPr>
        <p:txBody>
          <a:bodyPr wrap="square" lIns="0" tIns="54000" rIns="0" bIns="0" anchor="t" anchorCtr="0">
            <a:spAutoFit/>
          </a:bodyPr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 info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Janurary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7147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gnisphere">
            <a:extLst>
              <a:ext uri="{FF2B5EF4-FFF2-40B4-BE49-F238E27FC236}">
                <a16:creationId xmlns:a16="http://schemas.microsoft.com/office/drawing/2014/main" id="{CA7FD744-5012-40FC-8106-A5602D972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 rot="16200000">
            <a:off x="5824540" y="490535"/>
            <a:ext cx="6858003" cy="5876925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7495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tage">
            <a:extLst>
              <a:ext uri="{FF2B5EF4-FFF2-40B4-BE49-F238E27FC236}">
                <a16:creationId xmlns:a16="http://schemas.microsoft.com/office/drawing/2014/main" id="{3736255E-953B-46D8-9F91-117AAB8492F2}"/>
              </a:ext>
            </a:extLst>
          </p:cNvPr>
          <p:cNvSpPr/>
          <p:nvPr userDrawn="1"/>
        </p:nvSpPr>
        <p:spPr>
          <a:xfrm>
            <a:off x="0" y="1414463"/>
            <a:ext cx="12191999" cy="475297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rtlCol="0" anchor="t" anchorCtr="0"/>
          <a:lstStyle/>
          <a:p>
            <a:pPr algn="l"/>
            <a:endParaRPr lang="en-US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2874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583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35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517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>
            <a:extLst>
              <a:ext uri="{FF2B5EF4-FFF2-40B4-BE49-F238E27FC236}">
                <a16:creationId xmlns:a16="http://schemas.microsoft.com/office/drawing/2014/main" id="{C23ABC29-C5E7-4C8C-8ED9-0C892DBB03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938"/>
          <a:stretch/>
        </p:blipFill>
        <p:spPr>
          <a:xfrm rot="5400000">
            <a:off x="2872582" y="-2461419"/>
            <a:ext cx="6858000" cy="11780837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7255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466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70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2399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1611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9001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135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795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33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28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030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gnisphere" descr="A picture containing light, green, traffic&#10;&#10;Description automatically generated">
            <a:extLst>
              <a:ext uri="{FF2B5EF4-FFF2-40B4-BE49-F238E27FC236}">
                <a16:creationId xmlns:a16="http://schemas.microsoft.com/office/drawing/2014/main" id="{56EBB59A-6013-4BC8-99EE-FC7587A68A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7927"/>
          <a:stretch/>
        </p:blipFill>
        <p:spPr>
          <a:xfrm rot="16200000">
            <a:off x="2869406" y="-2464594"/>
            <a:ext cx="6858000" cy="11787188"/>
          </a:xfrm>
          <a:custGeom>
            <a:avLst/>
            <a:gdLst>
              <a:gd name="connsiteX0" fmla="*/ 6858000 w 6858000"/>
              <a:gd name="connsiteY0" fmla="*/ 0 h 11787188"/>
              <a:gd name="connsiteX1" fmla="*/ 6858000 w 6858000"/>
              <a:gd name="connsiteY1" fmla="*/ 11787188 h 11787188"/>
              <a:gd name="connsiteX2" fmla="*/ 745958 w 6858000"/>
              <a:gd name="connsiteY2" fmla="*/ 11787188 h 11787188"/>
              <a:gd name="connsiteX3" fmla="*/ 745958 w 6858000"/>
              <a:gd name="connsiteY3" fmla="*/ 9702286 h 11787188"/>
              <a:gd name="connsiteX4" fmla="*/ 0 w 6858000"/>
              <a:gd name="connsiteY4" fmla="*/ 9702286 h 11787188"/>
              <a:gd name="connsiteX5" fmla="*/ 0 w 6858000"/>
              <a:gd name="connsiteY5" fmla="*/ 8202780 h 11787188"/>
              <a:gd name="connsiteX6" fmla="*/ 0 w 6858000"/>
              <a:gd name="connsiteY6" fmla="*/ 6838770 h 11787188"/>
              <a:gd name="connsiteX7" fmla="*/ 0 w 6858000"/>
              <a:gd name="connsiteY7" fmla="*/ 0 h 117871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858000" h="11787188">
                <a:moveTo>
                  <a:pt x="6858000" y="0"/>
                </a:moveTo>
                <a:lnTo>
                  <a:pt x="6858000" y="11787188"/>
                </a:lnTo>
                <a:lnTo>
                  <a:pt x="745958" y="11787188"/>
                </a:lnTo>
                <a:lnTo>
                  <a:pt x="745958" y="9702286"/>
                </a:lnTo>
                <a:lnTo>
                  <a:pt x="0" y="9702286"/>
                </a:lnTo>
                <a:lnTo>
                  <a:pt x="0" y="8202780"/>
                </a:lnTo>
                <a:lnTo>
                  <a:pt x="0" y="683877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462213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8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51339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404812" y="1414461"/>
            <a:ext cx="11376026" cy="4392000"/>
          </a:xfrm>
        </p:spPr>
        <p:txBody>
          <a:bodyPr/>
          <a:lstStyle/>
          <a:p>
            <a:endParaRPr lang="en-US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4908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551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6732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/>
              <a:t>Please insert quote here</a:t>
            </a:r>
          </a:p>
          <a:p>
            <a:pPr lvl="1"/>
            <a:r>
              <a:rPr lang="en-US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93727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402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7502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B29E3DA4-014E-4F3D-8186-84366ADFCB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86400" y="1234800"/>
            <a:ext cx="9288000" cy="1162523"/>
          </a:xfrm>
        </p:spPr>
        <p:txBody>
          <a:bodyPr wrap="square" lIns="0" tIns="54000" rIns="0" bIns="0" anchor="t" anchorCtr="0">
            <a:spAutoFit/>
          </a:bodyPr>
          <a:lstStyle>
            <a:lvl1pPr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/>
              <a:t>Contact info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058400" y="2397324"/>
            <a:ext cx="9216000" cy="3409751"/>
          </a:xfrm>
          <a:prstGeom prst="rect">
            <a:avLst/>
          </a:prstGeom>
        </p:spPr>
        <p:txBody>
          <a:bodyPr tIns="108000">
            <a:noAutofit/>
          </a:bodyPr>
          <a:lstStyle>
            <a:lvl1pPr marL="0" indent="0" algn="l"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400" b="1"/>
            </a:lvl2pPr>
            <a:lvl3pPr marL="18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0"/>
            </a:lvl3pPr>
            <a:lvl4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4pPr>
            <a:lvl5pPr marL="36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5pPr>
            <a:lvl6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6pPr>
            <a:lvl7pPr marL="54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7pPr>
            <a:lvl8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/>
            </a:lvl8pPr>
            <a:lvl9pPr marL="720000" indent="-180000" algn="l">
              <a:spcAft>
                <a:spcPts val="0"/>
              </a:spcAft>
              <a:buFont typeface="Arial" panose="020B0604020202020204" pitchFamily="34" charset="0"/>
              <a:buChar char="•"/>
              <a:defRPr sz="1400" b="1"/>
            </a:lvl9pPr>
          </a:lstStyle>
          <a:p>
            <a:pPr lvl="0"/>
            <a:r>
              <a:rPr lang="en-US"/>
              <a:t>Click to edit the contact</a:t>
            </a:r>
          </a:p>
          <a:p>
            <a:pPr lvl="1"/>
            <a:r>
              <a:rPr lang="en-US"/>
              <a:t>Name etc.</a:t>
            </a:r>
          </a:p>
          <a:p>
            <a:pPr lvl="2"/>
            <a:r>
              <a:rPr lang="en-US"/>
              <a:t>Department etc.</a:t>
            </a:r>
          </a:p>
          <a:p>
            <a:pPr lvl="3"/>
            <a:r>
              <a:rPr lang="en-US"/>
              <a:t>subchapter</a:t>
            </a:r>
          </a:p>
          <a:p>
            <a:pPr lvl="4"/>
            <a:r>
              <a:rPr lang="en-US"/>
              <a:t>active subchapter</a:t>
            </a:r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3279A350-3BB2-4CA2-A422-8F5A951F6F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CFF9630D-791D-45AE-8E5E-36F747F599E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5FD2C39E-5D81-4A0E-9F45-9093289008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0421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778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Siemens Cognisphere on Deep Blue background">
            <a:extLst>
              <a:ext uri="{FF2B5EF4-FFF2-40B4-BE49-F238E27FC236}">
                <a16:creationId xmlns:a16="http://schemas.microsoft.com/office/drawing/2014/main" id="{591CD5A4-BDEB-4734-8FA5-5C3B4A08A4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81679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background">
            <a:extLst>
              <a:ext uri="{FF2B5EF4-FFF2-40B4-BE49-F238E27FC236}">
                <a16:creationId xmlns:a16="http://schemas.microsoft.com/office/drawing/2014/main" id="{F50DEF7C-D243-494F-A738-41FC9AF515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M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72471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Deep Blue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background">
            <a:extLst>
              <a:ext uri="{FF2B5EF4-FFF2-40B4-BE49-F238E27FC236}">
                <a16:creationId xmlns:a16="http://schemas.microsoft.com/office/drawing/2014/main" id="{AA220E05-4C1E-4F58-BFC0-57C07A95F7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3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4696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gnisphere" descr="A close up of a logo&#10;&#10;Description automatically generated">
            <a:extLst>
              <a:ext uri="{FF2B5EF4-FFF2-40B4-BE49-F238E27FC236}">
                <a16:creationId xmlns:a16="http://schemas.microsoft.com/office/drawing/2014/main" id="{C2CEA4C1-9D9C-4523-9656-F00A59A31B3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9994"/>
          <a:stretch/>
        </p:blipFill>
        <p:spPr>
          <a:xfrm rot="10800000">
            <a:off x="404812" y="0"/>
            <a:ext cx="11787188" cy="6858000"/>
          </a:xfrm>
          <a:custGeom>
            <a:avLst/>
            <a:gdLst>
              <a:gd name="connsiteX0" fmla="*/ 11787188 w 11787188"/>
              <a:gd name="connsiteY0" fmla="*/ 6858000 h 6858000"/>
              <a:gd name="connsiteX1" fmla="*/ 0 w 11787188"/>
              <a:gd name="connsiteY1" fmla="*/ 6858000 h 6858000"/>
              <a:gd name="connsiteX2" fmla="*/ 0 w 11787188"/>
              <a:gd name="connsiteY2" fmla="*/ 1414464 h 6858000"/>
              <a:gd name="connsiteX3" fmla="*/ 630221 w 11787188"/>
              <a:gd name="connsiteY3" fmla="*/ 1414464 h 6858000"/>
              <a:gd name="connsiteX4" fmla="*/ 630221 w 11787188"/>
              <a:gd name="connsiteY4" fmla="*/ 649705 h 6858000"/>
              <a:gd name="connsiteX5" fmla="*/ 1917600 w 11787188"/>
              <a:gd name="connsiteY5" fmla="*/ 649705 h 6858000"/>
              <a:gd name="connsiteX6" fmla="*/ 1917600 w 11787188"/>
              <a:gd name="connsiteY6" fmla="*/ 0 h 6858000"/>
              <a:gd name="connsiteX7" fmla="*/ 11787188 w 11787188"/>
              <a:gd name="connsiteY7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787188" h="6858000">
                <a:moveTo>
                  <a:pt x="11787188" y="6858000"/>
                </a:moveTo>
                <a:lnTo>
                  <a:pt x="0" y="6858000"/>
                </a:lnTo>
                <a:lnTo>
                  <a:pt x="0" y="1414464"/>
                </a:lnTo>
                <a:lnTo>
                  <a:pt x="630221" y="1414464"/>
                </a:lnTo>
                <a:lnTo>
                  <a:pt x="630221" y="649705"/>
                </a:lnTo>
                <a:lnTo>
                  <a:pt x="1917600" y="649705"/>
                </a:lnTo>
                <a:lnTo>
                  <a:pt x="1917600" y="0"/>
                </a:lnTo>
                <a:lnTo>
                  <a:pt x="11787188" y="0"/>
                </a:lnTo>
                <a:close/>
              </a:path>
            </a:pathLst>
          </a:cu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4"/>
            <a:ext cx="11376788" cy="2769989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3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3 lines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6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016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8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gnisphere" descr="Siemens Cognisphere on Deep Blue Petrol gradient">
            <a:extLst>
              <a:ext uri="{FF2B5EF4-FFF2-40B4-BE49-F238E27FC236}">
                <a16:creationId xmlns:a16="http://schemas.microsoft.com/office/drawing/2014/main" id="{70837433-2C09-4518-AF0D-697A97CAC3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9327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6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Siemens Cognisphere on Deep Blue Petrol gradient">
            <a:extLst>
              <a:ext uri="{FF2B5EF4-FFF2-40B4-BE49-F238E27FC236}">
                <a16:creationId xmlns:a16="http://schemas.microsoft.com/office/drawing/2014/main" id="{DF3DAF0E-BB8A-4082-8CE7-1BBCE61C8CD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769989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3"/>
            <a:ext cx="9288000" cy="16226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41762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gnisphere" descr="Siemens Cognisphere on Deep Blue Petrol gradient">
            <a:extLst>
              <a:ext uri="{FF2B5EF4-FFF2-40B4-BE49-F238E27FC236}">
                <a16:creationId xmlns:a16="http://schemas.microsoft.com/office/drawing/2014/main" id="{DE598EC2-770B-4F85-A209-57F0E770943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9288000" cy="2462213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 bwMode="black"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4373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1314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506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6095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46D369A7-07BD-4B91-9E53-807AAAF0C30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221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DC2D4109-C5C2-42BB-B5A0-2F6793388E2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623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light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98AE3DB-A74B-4AD6-A37C-FBCFB647B93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8588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8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55810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Gradient DB–Petrol 40p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>
            <a:extLst>
              <a:ext uri="{FF2B5EF4-FFF2-40B4-BE49-F238E27FC236}">
                <a16:creationId xmlns:a16="http://schemas.microsoft.com/office/drawing/2014/main" id="{CD68F259-AA3E-4A60-88DB-14C10A07F0D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8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6864"/>
          <a:stretch/>
        </p:blipFill>
        <p:spPr>
          <a:xfrm>
            <a:off x="411163" y="0"/>
            <a:ext cx="11780837" cy="6858000"/>
          </a:xfrm>
          <a:prstGeom prst="rect">
            <a:avLst/>
          </a:prstGeom>
        </p:spPr>
      </p:pic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0" y="1414463"/>
            <a:ext cx="9288000" cy="2462213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  <a:br>
              <a:rPr lang="en-US"/>
            </a:br>
            <a:r>
              <a:rPr lang="en-US"/>
              <a:t>extra long headlines</a:t>
            </a:r>
            <a:br>
              <a:rPr lang="en-US"/>
            </a:br>
            <a:r>
              <a:rPr lang="en-US"/>
              <a:t>4 lines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6983F93-FD6F-4DAC-8F23-D4EF00A0420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411163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6466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40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059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36pt">
    <p:bg>
      <p:bgPr>
        <a:gradFill>
          <a:gsLst>
            <a:gs pos="52000">
              <a:schemeClr val="bg2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3373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8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8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40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1131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90° 36pt">
    <p:bg>
      <p:bgPr>
        <a:gradFill>
          <a:gsLst>
            <a:gs pos="33000">
              <a:schemeClr val="bg2"/>
            </a:gs>
            <a:gs pos="100000">
              <a:schemeClr val="accent1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line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806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8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0945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40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23819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Green 36pt">
    <p:bg>
      <p:bgPr>
        <a:gradFill>
          <a:gsLst>
            <a:gs pos="52000">
              <a:schemeClr val="bg2"/>
            </a:gs>
            <a:gs pos="100000">
              <a:srgbClr val="00AF8E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5154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8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477328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 dirty="0"/>
              <a:t>Subhead for headline size 4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1860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40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231106"/>
          </a:xfrm>
          <a:blipFill dpi="0" rotWithShape="1"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87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8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477328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rIns="0" bIns="0" anchor="t">
            <a:spAutoFit/>
          </a:bodyPr>
          <a:lstStyle>
            <a:lvl1pPr marL="32400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256000"/>
            <a:ext cx="9288000" cy="911438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8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r>
              <a:rPr lang="en-US"/>
              <a:t>Subhead for headline size 48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5207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Gradient Blue 36pt">
    <p:bg>
      <p:bgPr>
        <a:gradFill>
          <a:gsLst>
            <a:gs pos="52000">
              <a:schemeClr val="bg2"/>
            </a:gs>
            <a:gs pos="100000">
              <a:schemeClr val="accent4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 bwMode="ltGray">
          <a:xfrm>
            <a:off x="0" y="0"/>
            <a:ext cx="12192000" cy="3502800"/>
          </a:xfrm>
          <a:solidFill>
            <a:schemeClr val="tx2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1" y="3780000"/>
            <a:ext cx="9287638" cy="16619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t="-1000" b="5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 </a:t>
            </a:r>
            <a:br>
              <a:rPr lang="en-US" dirty="0"/>
            </a:br>
            <a:r>
              <a:rPr lang="en-US" dirty="0"/>
              <a:t>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 dirty="0"/>
              <a:t>Subhead for headline size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2913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399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8188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2"/>
            <a:ext cx="9288000" cy="1622622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25584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4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121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9A561178-96D2-407A-94C5-91A37401F6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91600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8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700"/>
            </a:stretch>
          </a:blipFill>
        </p:spPr>
        <p:txBody>
          <a:bodyPr rIns="0" bIns="0" anchor="t" anchorCtr="0">
            <a:spAutoFit/>
          </a:bodyPr>
          <a:lstStyle>
            <a:lvl1pPr marL="540000">
              <a:lnSpc>
                <a:spcPct val="100000"/>
              </a:lnSpc>
              <a:defRPr sz="8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7"/>
            <a:ext cx="9288000" cy="1930398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32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r>
              <a:rPr lang="en-US" dirty="0"/>
              <a:t>Subhead for headline size 8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DBCA456-A643-45C8-9383-5A06099EB6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5B05DC85-FD3C-4245-83A1-F6197CB9E08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4FC1DCA2-253A-4E87-91E4-D402488C8D7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612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6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400" y="1414463"/>
            <a:ext cx="11376788" cy="2769989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rIns="0" bIns="0" anchor="t" anchorCtr="0">
            <a:spAutoFit/>
          </a:bodyPr>
          <a:lstStyle>
            <a:lvl1pPr marL="414000">
              <a:lnSpc>
                <a:spcPct val="100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4184451"/>
            <a:ext cx="9288000" cy="16226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24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24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6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1031E7D-E514-484A-9CCD-52A9C22222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40003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47F428C-5AA7-413C-A721-B7AADDF8B42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543E2CC-A901-4194-A712-51CE520302B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2586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light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B3CAAA86-26BD-41E0-A26A-7AF592C3A3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410399" y="1414463"/>
            <a:ext cx="11370437" cy="246221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 b="500"/>
            </a:stretch>
          </a:blipFill>
        </p:spPr>
        <p:txBody>
          <a:bodyPr wrap="square" rIns="0" bIns="0" anchor="t" anchorCtr="0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extra long headlines</a:t>
            </a:r>
            <a:br>
              <a:rPr lang="en-US" dirty="0"/>
            </a:br>
            <a:r>
              <a:rPr lang="en-US" dirty="0"/>
              <a:t>4 lines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1163" y="3876675"/>
            <a:ext cx="9288000" cy="1930123"/>
          </a:xfrm>
          <a:prstGeom prst="rect">
            <a:avLst/>
          </a:prstGeom>
        </p:spPr>
        <p:txBody>
          <a:bodyPr lIns="0" tIns="3492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600"/>
            </a:lvl2pPr>
            <a:lvl3pPr marL="0" indent="0" algn="l">
              <a:spcAft>
                <a:spcPts val="300"/>
              </a:spcAft>
              <a:buNone/>
              <a:defRPr sz="1600"/>
            </a:lvl3pPr>
            <a:lvl4pPr marL="0" indent="0" algn="l">
              <a:buNone/>
              <a:defRPr sz="1600"/>
            </a:lvl4pPr>
            <a:lvl5pPr marL="0" indent="0" algn="l">
              <a:buNone/>
              <a:defRPr sz="1600"/>
            </a:lvl5pPr>
            <a:lvl6pPr marL="0" indent="0" algn="l">
              <a:buNone/>
              <a:defRPr sz="1600"/>
            </a:lvl6pPr>
            <a:lvl7pPr marL="0" indent="0" algn="l">
              <a:buNone/>
              <a:defRPr sz="1600"/>
            </a:lvl7pPr>
            <a:lvl8pPr marL="0" indent="0" algn="l">
              <a:buNone/>
              <a:defRPr sz="1600"/>
            </a:lvl8pPr>
            <a:lvl9pPr marL="0" indent="0" algn="l">
              <a:buNone/>
              <a:defRPr sz="1600"/>
            </a:lvl9pPr>
          </a:lstStyle>
          <a:p>
            <a:pPr lvl="0"/>
            <a:r>
              <a:rPr lang="en-US" dirty="0"/>
              <a:t>Subhead for headline size 40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498F1A9-6241-4523-AFBC-C74F3AA4AC3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>
          <a:xfrm>
            <a:off x="1059160" y="6310800"/>
            <a:ext cx="8639240" cy="547200"/>
          </a:xfrm>
        </p:spPr>
        <p:txBody>
          <a:bodyPr/>
          <a:lstStyle/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267619FE-01EE-4013-B481-A8C505C5D2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2A2349A4-4A97-42CC-AE59-7EDEE385EDF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 bwMode="black"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9638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3" pos="6109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891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4157">
          <p15:clr>
            <a:srgbClr val="65CEFF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gnisphere" descr="Siemens Cognisphere on white background">
            <a:extLst>
              <a:ext uri="{FF2B5EF4-FFF2-40B4-BE49-F238E27FC236}">
                <a16:creationId xmlns:a16="http://schemas.microsoft.com/office/drawing/2014/main" id="{FEC69F24-2876-47B9-A4B6-0ADE800EC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5904675" cy="576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0E701EC8-7FC1-42BE-915D-048C74A40E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 bwMode="black">
          <a:xfrm>
            <a:off x="411163" y="1414463"/>
            <a:ext cx="5903912" cy="4751387"/>
          </a:xfrm>
        </p:spPr>
        <p:txBody>
          <a:bodyPr/>
          <a:lstStyle>
            <a:lvl1pPr>
              <a:spcAft>
                <a:spcPts val="900"/>
              </a:spcAft>
              <a:tabLst>
                <a:tab pos="5902325" algn="r"/>
              </a:tabLst>
              <a:defRPr/>
            </a:lvl1pPr>
            <a:lvl2pPr>
              <a:spcAft>
                <a:spcPts val="900"/>
              </a:spcAft>
              <a:tabLst>
                <a:tab pos="5902325" algn="r"/>
              </a:tabLst>
              <a:defRPr/>
            </a:lvl2pPr>
            <a:lvl3pPr marL="180000">
              <a:spcAft>
                <a:spcPts val="900"/>
              </a:spcAft>
              <a:tabLst>
                <a:tab pos="5902325" algn="r"/>
              </a:tabLst>
              <a:defRPr b="1"/>
            </a:lvl3pPr>
            <a:lvl4pPr marL="360000">
              <a:spcAft>
                <a:spcPts val="900"/>
              </a:spcAft>
              <a:tabLst>
                <a:tab pos="5902325" algn="r"/>
              </a:tabLst>
              <a:defRPr/>
            </a:lvl4pPr>
            <a:lvl5pPr marL="360000">
              <a:spcAft>
                <a:spcPts val="900"/>
              </a:spcAft>
              <a:tabLst>
                <a:tab pos="5902325" algn="r"/>
              </a:tabLst>
              <a:defRPr b="1"/>
            </a:lvl5pPr>
            <a:lvl6pPr marL="180000">
              <a:spcAft>
                <a:spcPts val="600"/>
              </a:spcAft>
              <a:tabLst>
                <a:tab pos="5902325" algn="r"/>
              </a:tabLst>
              <a:defRPr sz="1600"/>
            </a:lvl6pPr>
            <a:lvl7pPr marL="180000">
              <a:spcAft>
                <a:spcPts val="600"/>
              </a:spcAft>
              <a:tabLst>
                <a:tab pos="5902325" algn="r"/>
              </a:tabLst>
              <a:defRPr sz="1600" b="1"/>
            </a:lvl7pPr>
            <a:lvl8pPr marL="360000">
              <a:spcAft>
                <a:spcPts val="600"/>
              </a:spcAft>
              <a:tabLst>
                <a:tab pos="5902325" algn="r"/>
              </a:tabLst>
              <a:defRPr sz="1600"/>
            </a:lvl8pPr>
            <a:lvl9pPr marL="360000">
              <a:spcAft>
                <a:spcPts val="600"/>
              </a:spcAft>
              <a:tabLst>
                <a:tab pos="5902325" algn="r"/>
              </a:tabLst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903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5" pos="3978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  <p15:guide id="19" pos="4248">
          <p15:clr>
            <a:srgbClr val="65CEFF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/ Agenda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90730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E73DB6A8-F91C-4B87-ACAA-19A2D5EA21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348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40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231106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b="-2000"/>
            </a:stretch>
          </a:blipFill>
        </p:spPr>
        <p:txBody>
          <a:bodyPr rIns="0" bIns="0" anchor="t">
            <a:spAutoFit/>
          </a:bodyPr>
          <a:lstStyle>
            <a:lvl1pPr marL="270000">
              <a:lnSpc>
                <a:spcPct val="100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011106"/>
            <a:ext cx="9288000" cy="1156332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6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40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418702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Content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8C6E0B19-DC70-4D19-9A56-05E87567F1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D3DF1D7C-B467-46E9-B036-83EC1DBE71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141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1219200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Full siz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3F142F7C-7BE3-40CB-8C53-6F75330735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9252000" cy="1491868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0143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2" orient="horz" pos="664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(Text 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">
            <a:extLst>
              <a:ext uri="{FF2B5EF4-FFF2-40B4-BE49-F238E27FC236}">
                <a16:creationId xmlns:a16="http://schemas.microsoft.com/office/drawing/2014/main" id="{1CAAD1C1-677B-4ED7-96BE-27B1141D53D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 bwMode="ltGray">
          <a:xfrm>
            <a:off x="0" y="1"/>
            <a:ext cx="7611160" cy="6167438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AFFC798E-B633-4D30-A7C1-DC796BD88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1022400" y="1054100"/>
            <a:ext cx="6156275" cy="2215991"/>
          </a:xfrm>
          <a:noFill/>
        </p:spPr>
        <p:txBody>
          <a:bodyPr wrap="square" rIns="0" bIns="0" anchor="t">
            <a:spAutoFit/>
          </a:bodyPr>
          <a:lstStyle>
            <a:lvl1pPr marL="0">
              <a:lnSpc>
                <a:spcPct val="100000"/>
              </a:lnSpc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r>
              <a:rPr lang="en-US" dirty="0"/>
              <a:t>3 lines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6F965802-E517-4CC3-99D7-1DA8BF1FB02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black">
          <a:xfrm>
            <a:off x="8042400" y="1054100"/>
            <a:ext cx="3744000" cy="5113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F80D0117-50BB-4A8D-AD28-794FFDA3540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79F3E7D3-5B15-444A-88AC-9161D47F12F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30251D14-AF6A-4279-B0A9-69FD9519EA5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2992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522">
          <p15:clr>
            <a:srgbClr val="65CEFF"/>
          </p15:clr>
        </p15:guide>
        <p15:guide id="3" pos="4794">
          <p15:clr>
            <a:srgbClr val="65CEFF"/>
          </p15:clr>
        </p15:guide>
        <p15:guide id="4" pos="5066">
          <p15:clr>
            <a:srgbClr val="65CEFF"/>
          </p15:clr>
        </p15:guide>
        <p15:guide id="5" pos="6472">
          <p15:clr>
            <a:srgbClr val="65CEFF"/>
          </p15:clr>
        </p15:guide>
        <p15:guide id="6" pos="7425">
          <p15:clr>
            <a:srgbClr val="65CEFF"/>
          </p15:clr>
        </p15:guide>
        <p15:guide id="7" orient="horz" pos="302">
          <p15:clr>
            <a:srgbClr val="65CEFF"/>
          </p15:clr>
        </p15:guide>
        <p15:guide id="8" orient="horz" pos="664">
          <p15:clr>
            <a:srgbClr val="65CEFF"/>
          </p15:clr>
        </p15:guide>
        <p15:guide id="9" orient="horz" pos="891">
          <p15:clr>
            <a:srgbClr val="65CEFF"/>
          </p15:clr>
        </p15:guide>
        <p15:guide id="10" orient="horz" pos="3658">
          <p15:clr>
            <a:srgbClr val="65CEFF"/>
          </p15:clr>
        </p15:guide>
        <p15:guide id="11" orient="horz" pos="3885">
          <p15:clr>
            <a:srgbClr val="65CEFF"/>
          </p15:clr>
        </p15:guide>
        <p15:guide id="12" orient="horz" pos="4157">
          <p15:clr>
            <a:srgbClr val="65CEFF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 (with key visual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Siemens Cognisphere (softened) on Deep Blue background">
            <a:extLst>
              <a:ext uri="{FF2B5EF4-FFF2-40B4-BE49-F238E27FC236}">
                <a16:creationId xmlns:a16="http://schemas.microsoft.com/office/drawing/2014/main" id="{AE83F1C5-95B7-47C3-B837-8191D1E397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8273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Deep 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16495290-0795-4AB1-8AEA-2BB7867836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E8FC1C65-873A-4B8F-BB57-51EEBC35A1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6532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4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 (with key visual)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gnisphere" descr="Siemens Cognisphere (softened) on Deep Blue Petrol gradient">
            <a:extLst>
              <a:ext uri="{FF2B5EF4-FFF2-40B4-BE49-F238E27FC236}">
                <a16:creationId xmlns:a16="http://schemas.microsoft.com/office/drawing/2014/main" id="{E2F7C1AE-8376-445B-98CD-DBE6E96E387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invGray"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0965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Gradient">
    <p:bg>
      <p:bgPr>
        <a:gradFill>
          <a:gsLst>
            <a:gs pos="33000">
              <a:schemeClr val="accent6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CDB9E4A-37E0-45B2-BC93-C2EC503FB8F7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4BECE54-DDA8-4D2C-8A02-4C8E3E1585E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07B7E75B-80B4-49F8-AA70-A41C9D8968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863976F1-B9C2-4217-A36A-7F1DCFF6EE2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1228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3705">
          <p15:clr>
            <a:srgbClr val="65CEFF"/>
          </p15:clr>
        </p15:guide>
        <p15:guide id="5" pos="3978">
          <p15:clr>
            <a:srgbClr val="65CEFF"/>
          </p15:clr>
        </p15:guide>
        <p15:guide id="7" pos="4975">
          <p15:clr>
            <a:srgbClr val="65CEFF"/>
          </p15:clr>
        </p15:guide>
        <p15:guide id="8" pos="5157">
          <p15:clr>
            <a:srgbClr val="65CEFF"/>
          </p15:clr>
        </p15:guide>
        <p15:guide id="9" pos="6472">
          <p15:clr>
            <a:srgbClr val="65CEFF"/>
          </p15:clr>
        </p15:guide>
        <p15:guide id="10" pos="7425">
          <p15:clr>
            <a:srgbClr val="65CEFF"/>
          </p15:clr>
        </p15:guide>
        <p15:guide id="11" orient="horz" pos="302">
          <p15:clr>
            <a:srgbClr val="65CEFF"/>
          </p15:clr>
        </p15:guide>
        <p15:guide id="12" orient="horz" pos="663">
          <p15:clr>
            <a:srgbClr val="65CEFF"/>
          </p15:clr>
        </p15:guide>
        <p15:guide id="13" orient="horz" pos="891">
          <p15:clr>
            <a:srgbClr val="65CEFF"/>
          </p15:clr>
        </p15:guide>
        <p15:guide id="14" orient="horz" pos="2206">
          <p15:clr>
            <a:srgbClr val="65CEFF"/>
          </p15:clr>
        </p15:guide>
        <p15:guide id="15" orient="horz" pos="2343">
          <p15:clr>
            <a:srgbClr val="65CEFF"/>
          </p15:clr>
        </p15:guide>
        <p15:guide id="16" orient="horz" pos="3658">
          <p15:clr>
            <a:srgbClr val="65CEFF"/>
          </p15:clr>
        </p15:guide>
        <p15:guide id="17" orient="horz" pos="3885">
          <p15:clr>
            <a:srgbClr val="65CEFF"/>
          </p15:clr>
        </p15:guide>
        <p15:guide id="18" orient="horz" pos="4157">
          <p15:clr>
            <a:srgbClr val="65CEFF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719931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E519D384-FA09-4D60-95A8-589F157A93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7B1666FD-2258-443A-846C-6C7533C61D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91EB517C-C8FD-4E2E-B744-DB952E96B47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0535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6472">
          <p15:clr>
            <a:srgbClr val="65CEFF"/>
          </p15:clr>
        </p15:guide>
        <p15:guide id="4" pos="7425">
          <p15:clr>
            <a:srgbClr val="65CEFF"/>
          </p15:clr>
        </p15:guide>
        <p15:guide id="5" orient="horz" pos="302">
          <p15:clr>
            <a:srgbClr val="65CEFF"/>
          </p15:clr>
        </p15:guide>
        <p15:guide id="6" orient="horz" pos="664">
          <p15:clr>
            <a:srgbClr val="65CEFF"/>
          </p15:clr>
        </p15:guide>
        <p15:guide id="7" orient="horz" pos="891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800"/>
            <a:ext cx="113760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7367E6C0-4D2C-4C5F-86D8-A2CFF0EB3D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F746812-65E3-4C09-AC38-B0CFE93C8A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2718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33A503D1-D234-4258-9A03-D858B10BA4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21AA656B-0BAF-4B75-90BE-93CAC5946C0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37406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icture dark 36p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">
            <a:extLst>
              <a:ext uri="{FF2B5EF4-FFF2-40B4-BE49-F238E27FC236}">
                <a16:creationId xmlns:a16="http://schemas.microsoft.com/office/drawing/2014/main" id="{2FA76E44-9BA3-4B84-98F7-42C18A2A8BA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3502800"/>
          </a:xfrm>
          <a:solidFill>
            <a:schemeClr val="accent1"/>
          </a:solidFill>
        </p:spPr>
        <p:txBody>
          <a:bodyPr lIns="144000" tIns="108000" rIns="144000" bIns="108000"/>
          <a:lstStyle>
            <a:lvl1pPr marL="0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Title picture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8620440E-BF1B-417E-87A5-35990130B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10401" y="3780000"/>
            <a:ext cx="9287638" cy="1661993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-500" b="-1000"/>
            </a:stretch>
          </a:blipFill>
        </p:spPr>
        <p:txBody>
          <a:bodyPr rIns="0" bIns="0" anchor="t">
            <a:spAutoFit/>
          </a:bodyPr>
          <a:lstStyle>
            <a:lvl1pPr marL="252000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 </a:t>
            </a:r>
            <a:br>
              <a:rPr lang="en-US"/>
            </a:br>
            <a:r>
              <a:rPr lang="en-US"/>
              <a:t>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3" name="Subhead">
            <a:extLst>
              <a:ext uri="{FF2B5EF4-FFF2-40B4-BE49-F238E27FC236}">
                <a16:creationId xmlns:a16="http://schemas.microsoft.com/office/drawing/2014/main" id="{89304306-5233-4901-B576-444696A2EA3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1162" y="5441992"/>
            <a:ext cx="9288000" cy="725445"/>
          </a:xfrm>
          <a:prstGeom prst="rect">
            <a:avLst/>
          </a:prstGeom>
        </p:spPr>
        <p:txBody>
          <a:bodyPr lIns="0" tIns="252000">
            <a:noAutofit/>
          </a:bodyPr>
          <a:lstStyle>
            <a:lvl1pPr marL="0" indent="0" algn="l"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1pPr>
            <a:lvl2pPr marL="0" indent="0" algn="l">
              <a:spcAft>
                <a:spcPts val="300"/>
              </a:spcAft>
              <a:buNone/>
              <a:defRPr sz="1400"/>
            </a:lvl2pPr>
            <a:lvl3pPr marL="0" indent="0" algn="l">
              <a:spcAft>
                <a:spcPts val="300"/>
              </a:spcAft>
              <a:buNone/>
              <a:defRPr sz="1400"/>
            </a:lvl3pPr>
            <a:lvl4pPr marL="0" indent="0" algn="l">
              <a:buNone/>
              <a:defRPr sz="1400"/>
            </a:lvl4pPr>
            <a:lvl5pPr marL="0" indent="0" algn="l">
              <a:buNone/>
              <a:defRPr sz="1400"/>
            </a:lvl5pPr>
            <a:lvl6pPr marL="0" indent="0" algn="l">
              <a:buNone/>
              <a:defRPr sz="1400"/>
            </a:lvl6pPr>
            <a:lvl7pPr marL="0" indent="0" algn="l">
              <a:buNone/>
              <a:defRPr sz="1400"/>
            </a:lvl7pPr>
            <a:lvl8pPr marL="0" indent="0" algn="l">
              <a:buNone/>
              <a:defRPr sz="1400"/>
            </a:lvl8pPr>
            <a:lvl9pPr marL="0" indent="0" algn="l">
              <a:buNone/>
              <a:defRPr sz="1400"/>
            </a:lvl9pPr>
          </a:lstStyle>
          <a:p>
            <a:pPr lvl="0"/>
            <a:r>
              <a:rPr lang="en-US"/>
              <a:t>Subhead for headline size 36 </a:t>
            </a:r>
            <a:r>
              <a:rPr lang="en-US" err="1"/>
              <a:t>pt</a:t>
            </a:r>
            <a:endParaRPr lang="en-US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B61796B2-8510-42B4-A5F7-E1FE5FCE45A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11162" y="6310800"/>
            <a:ext cx="9288000" cy="547200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Unrestricted | © Siemens 2020 | September 2021</a:t>
            </a:r>
          </a:p>
        </p:txBody>
      </p:sp>
      <p:pic>
        <p:nvPicPr>
          <p:cNvPr id="7" name="Siemens Logo">
            <a:extLst>
              <a:ext uri="{FF2B5EF4-FFF2-40B4-BE49-F238E27FC236}">
                <a16:creationId xmlns:a16="http://schemas.microsoft.com/office/drawing/2014/main" id="{3E4A7839-9F7E-47F2-83BA-F637AE0963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10274400" y="6364800"/>
            <a:ext cx="1512000" cy="240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633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109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2206">
          <p15:clr>
            <a:srgbClr val="65CEFF"/>
          </p15:clr>
        </p15:guide>
        <p15:guide id="5" orient="horz" pos="3885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2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4298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3">
            <a:extLst>
              <a:ext uri="{FF2B5EF4-FFF2-40B4-BE49-F238E27FC236}">
                <a16:creationId xmlns:a16="http://schemas.microsoft.com/office/drawing/2014/main" id="{F020B491-E63A-4FB5-94ED-2BC31EB35C33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8186400" y="1414800"/>
            <a:ext cx="3600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E613FA68-C74A-4621-9563-250388EBCC8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F9117D9C-D502-472C-A3C8-FA9087A2EDC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917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A8B1D58A-DC84-4573-957E-9BEA9AAB308E}"/>
              </a:ext>
            </a:extLst>
          </p:cNvPr>
          <p:cNvSpPr>
            <a:spLocks noGrp="1"/>
          </p:cNvSpPr>
          <p:nvPr>
            <p:ph sz="half" idx="1"/>
          </p:nvPr>
        </p:nvSpPr>
        <p:spPr bwMode="black">
          <a:xfrm>
            <a:off x="411162" y="1414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Copy 2">
            <a:extLst>
              <a:ext uri="{FF2B5EF4-FFF2-40B4-BE49-F238E27FC236}">
                <a16:creationId xmlns:a16="http://schemas.microsoft.com/office/drawing/2014/main" id="{2871E7F7-6A93-4406-8617-80D9CFF396A8}"/>
              </a:ext>
            </a:extLst>
          </p:cNvPr>
          <p:cNvSpPr>
            <a:spLocks noGrp="1"/>
          </p:cNvSpPr>
          <p:nvPr>
            <p:ph sz="half" idx="12"/>
          </p:nvPr>
        </p:nvSpPr>
        <p:spPr bwMode="black">
          <a:xfrm>
            <a:off x="411162" y="3718800"/>
            <a:ext cx="5470526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Copy 3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6315075" y="1414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Copy 4">
            <a:extLst>
              <a:ext uri="{FF2B5EF4-FFF2-40B4-BE49-F238E27FC236}">
                <a16:creationId xmlns:a16="http://schemas.microsoft.com/office/drawing/2014/main" id="{7AD3B9B1-3210-46C8-8222-A0E11719EB88}"/>
              </a:ext>
            </a:extLst>
          </p:cNvPr>
          <p:cNvSpPr>
            <a:spLocks noGrp="1"/>
          </p:cNvSpPr>
          <p:nvPr>
            <p:ph sz="half" idx="13"/>
          </p:nvPr>
        </p:nvSpPr>
        <p:spPr bwMode="black">
          <a:xfrm>
            <a:off x="6315075" y="3718800"/>
            <a:ext cx="5465763" cy="20880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1DF6F0C8-00D9-4034-B3CC-D376702BE1C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53D55964-F7E8-48E3-84D5-FE4FE835C56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Siemens Logo">
            <a:extLst>
              <a:ext uri="{FF2B5EF4-FFF2-40B4-BE49-F238E27FC236}">
                <a16:creationId xmlns:a16="http://schemas.microsoft.com/office/drawing/2014/main" id="{6FCACBED-2537-4F3E-8D2C-E601410053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407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3705">
          <p15:clr>
            <a:srgbClr val="65CEFF"/>
          </p15:clr>
        </p15:guide>
        <p15:guide id="3" pos="3978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2206">
          <p15:clr>
            <a:srgbClr val="65CEFF"/>
          </p15:clr>
        </p15:guide>
        <p15:guide id="10" orient="horz" pos="2343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568133C-15D2-4F33-802E-DF15E789182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">
            <a:extLst>
              <a:ext uri="{FF2B5EF4-FFF2-40B4-BE49-F238E27FC236}">
                <a16:creationId xmlns:a16="http://schemas.microsoft.com/office/drawing/2014/main" id="{90866A30-329B-420B-B42B-2C69E0DE6D9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ltGray">
          <a:xfrm>
            <a:off x="411161" y="1414800"/>
            <a:ext cx="7199313" cy="4752000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3756E69-CA2F-47EC-9D32-CB09C4CD83F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95022CCB-0484-488B-8637-222C3919B0F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F468BE17-5D03-45C2-9D37-CF354AAA95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2680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out logo (Spot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10C7B869-3095-4D4F-B832-8B6077991AA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">
            <a:extLst>
              <a:ext uri="{FF2B5EF4-FFF2-40B4-BE49-F238E27FC236}">
                <a16:creationId xmlns:a16="http://schemas.microsoft.com/office/drawing/2014/main" id="{299C05E6-AE55-4C36-8543-1DA3751542E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ltGray">
          <a:xfrm>
            <a:off x="411163" y="1414800"/>
            <a:ext cx="7199311" cy="4752000"/>
          </a:xfrm>
          <a:solidFill>
            <a:schemeClr val="bg2"/>
          </a:solidFill>
        </p:spPr>
        <p:txBody>
          <a:bodyPr/>
          <a:lstStyle/>
          <a:p>
            <a:endParaRPr lang="en-US" dirty="0"/>
          </a:p>
        </p:txBody>
      </p:sp>
      <p:sp>
        <p:nvSpPr>
          <p:cNvPr id="4" name="Copy">
            <a:extLst>
              <a:ext uri="{FF2B5EF4-FFF2-40B4-BE49-F238E27FC236}">
                <a16:creationId xmlns:a16="http://schemas.microsoft.com/office/drawing/2014/main" id="{BF3FF41E-3844-4153-B955-A1F3E9EC1D30}"/>
              </a:ext>
            </a:extLst>
          </p:cNvPr>
          <p:cNvSpPr>
            <a:spLocks noGrp="1"/>
          </p:cNvSpPr>
          <p:nvPr>
            <p:ph sz="half" idx="2"/>
          </p:nvPr>
        </p:nvSpPr>
        <p:spPr bwMode="black">
          <a:xfrm>
            <a:off x="8043189" y="1414800"/>
            <a:ext cx="3744000" cy="4752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2BA12055-C879-45E9-A105-2B26D233C9D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9AD82E40-8759-4AAC-B9F2-63E0F2C4CC7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40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4794">
          <p15:clr>
            <a:srgbClr val="65CEFF"/>
          </p15:clr>
        </p15:guide>
        <p15:guide id="3" pos="5066">
          <p15:clr>
            <a:srgbClr val="65CEFF"/>
          </p15:clr>
        </p15:guide>
        <p15:guide id="4" pos="6472">
          <p15:clr>
            <a:srgbClr val="65CEFF"/>
          </p15:clr>
        </p15:guide>
        <p15:guide id="5" pos="7425">
          <p15:clr>
            <a:srgbClr val="65CEFF"/>
          </p15:clr>
        </p15:guide>
        <p15:guide id="6" orient="horz" pos="302">
          <p15:clr>
            <a:srgbClr val="65CEFF"/>
          </p15:clr>
        </p15:guide>
        <p15:guide id="7" orient="horz" pos="664">
          <p15:clr>
            <a:srgbClr val="65CEFF"/>
          </p15:clr>
        </p15:guide>
        <p15:guide id="8" orient="horz" pos="891">
          <p15:clr>
            <a:srgbClr val="65CEFF"/>
          </p15:clr>
        </p15:guide>
        <p15:guide id="9" orient="horz" pos="3658">
          <p15:clr>
            <a:srgbClr val="65CEFF"/>
          </p15:clr>
        </p15:guide>
        <p15:guide id="10" orient="horz" pos="3885">
          <p15:clr>
            <a:srgbClr val="65CEFF"/>
          </p15:clr>
        </p15:guide>
        <p15:guide id="11" orient="horz" pos="4157">
          <p15:clr>
            <a:srgbClr val="65CEFF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tabl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">
            <a:extLst>
              <a:ext uri="{FF2B5EF4-FFF2-40B4-BE49-F238E27FC236}">
                <a16:creationId xmlns:a16="http://schemas.microsoft.com/office/drawing/2014/main" id="{9C4633C1-8D3E-45A5-A522-817574663A85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able Placeholder">
            <a:extLst>
              <a:ext uri="{FF2B5EF4-FFF2-40B4-BE49-F238E27FC236}">
                <a16:creationId xmlns:a16="http://schemas.microsoft.com/office/drawing/2014/main" id="{D41D1FE0-EDDA-47B8-BF1F-831D4733C32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 bwMode="black">
          <a:xfrm>
            <a:off x="404812" y="1414461"/>
            <a:ext cx="11376026" cy="4392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9CEA2FAD-1597-4F5C-878D-02CB854024F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CE0A22CB-5E69-4817-B713-C02B97CF6B9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2EA6CE5F-6FF7-4E0A-AEB2-1A7C43CE0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616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302">
          <p15:clr>
            <a:srgbClr val="65CEFF"/>
          </p15:clr>
        </p15:guide>
        <p15:guide id="5" orient="horz" pos="664">
          <p15:clr>
            <a:srgbClr val="65CEFF"/>
          </p15:clr>
        </p15:guide>
        <p15:guide id="6" orient="horz" pos="891">
          <p15:clr>
            <a:srgbClr val="65CEFF"/>
          </p15:clr>
        </p15:guide>
        <p15:guide id="7" orient="horz" pos="3658">
          <p15:clr>
            <a:srgbClr val="65CEFF"/>
          </p15:clr>
        </p15:guide>
        <p15:guide id="8" orient="horz" pos="3885">
          <p15:clr>
            <a:srgbClr val="65CEFF"/>
          </p15:clr>
        </p15:guide>
        <p15:guide id="9" orient="horz" pos="4157">
          <p15:clr>
            <a:srgbClr val="65CEFF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low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F2A455C-53B1-4792-8EA9-F00926C48E39}"/>
              </a:ext>
            </a:extLst>
          </p:cNvPr>
          <p:cNvSpPr>
            <a:spLocks noGrp="1"/>
          </p:cNvSpPr>
          <p:nvPr>
            <p:ph type="title"/>
          </p:nvPr>
        </p:nvSpPr>
        <p:spPr bwMode="black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py 1">
            <a:extLst>
              <a:ext uri="{FF2B5EF4-FFF2-40B4-BE49-F238E27FC236}">
                <a16:creationId xmlns:a16="http://schemas.microsoft.com/office/drawing/2014/main" id="{9CE7E2D8-94E8-4FE6-93A5-924CA3EC5315}"/>
              </a:ext>
            </a:extLst>
          </p:cNvPr>
          <p:cNvSpPr>
            <a:spLocks noGrp="1"/>
          </p:cNvSpPr>
          <p:nvPr>
            <p:ph idx="1"/>
          </p:nvPr>
        </p:nvSpPr>
        <p:spPr bwMode="black">
          <a:xfrm>
            <a:off x="411162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Copy 2">
            <a:extLst>
              <a:ext uri="{FF2B5EF4-FFF2-40B4-BE49-F238E27FC236}">
                <a16:creationId xmlns:a16="http://schemas.microsoft.com/office/drawing/2014/main" id="{3AC3CE10-0C4B-4A11-BA76-8CAFED13661C}"/>
              </a:ext>
            </a:extLst>
          </p:cNvPr>
          <p:cNvSpPr>
            <a:spLocks noGrp="1"/>
          </p:cNvSpPr>
          <p:nvPr>
            <p:ph idx="13"/>
          </p:nvPr>
        </p:nvSpPr>
        <p:spPr bwMode="black">
          <a:xfrm>
            <a:off x="4299176" y="1414462"/>
            <a:ext cx="3600000" cy="4392000"/>
          </a:xfrm>
          <a:prstGeom prst="rect">
            <a:avLst/>
          </a:prstGeom>
          <a:ln w="19050">
            <a:solidFill>
              <a:schemeClr val="accent2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ln>
                  <a:noFill/>
                </a:ln>
              </a:defRPr>
            </a:lvl1pPr>
            <a:lvl2pPr>
              <a:buClr>
                <a:srgbClr val="00FFB9"/>
              </a:buClr>
              <a:defRPr>
                <a:ln>
                  <a:noFill/>
                </a:ln>
              </a:defRPr>
            </a:lvl2pPr>
            <a:lvl3pPr>
              <a:buClr>
                <a:srgbClr val="00FFB9"/>
              </a:buClr>
              <a:defRPr>
                <a:ln>
                  <a:noFill/>
                </a:ln>
              </a:defRPr>
            </a:lvl3pPr>
            <a:lvl4pPr>
              <a:buClr>
                <a:srgbClr val="00FFB9"/>
              </a:buClr>
              <a:defRPr>
                <a:ln>
                  <a:noFill/>
                </a:ln>
              </a:defRPr>
            </a:lvl4pPr>
            <a:lvl5pPr>
              <a:buClr>
                <a:srgbClr val="00FFB9"/>
              </a:buClr>
              <a:defRPr>
                <a:ln>
                  <a:noFill/>
                </a:ln>
              </a:defRPr>
            </a:lvl5pPr>
            <a:lvl6pPr>
              <a:buClr>
                <a:srgbClr val="00FFB9"/>
              </a:buClr>
              <a:defRPr>
                <a:ln>
                  <a:noFill/>
                </a:ln>
              </a:defRPr>
            </a:lvl6pPr>
            <a:lvl7pPr>
              <a:buClr>
                <a:srgbClr val="00FFB9"/>
              </a:buClr>
              <a:defRPr>
                <a:ln>
                  <a:noFill/>
                </a:ln>
              </a:defRPr>
            </a:lvl7pPr>
            <a:lvl8pPr>
              <a:buClr>
                <a:srgbClr val="00FFB9"/>
              </a:buClr>
              <a:defRPr>
                <a:ln>
                  <a:noFill/>
                </a:ln>
              </a:defRPr>
            </a:lvl8pPr>
            <a:lvl9pPr>
              <a:buClr>
                <a:srgbClr val="00FFB9"/>
              </a:buClr>
              <a:defRPr>
                <a:ln>
                  <a:noFill/>
                </a:ln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Copy 3">
            <a:extLst>
              <a:ext uri="{FF2B5EF4-FFF2-40B4-BE49-F238E27FC236}">
                <a16:creationId xmlns:a16="http://schemas.microsoft.com/office/drawing/2014/main" id="{E840DCCC-8E77-40B8-B94B-A4D3A4D77826}"/>
              </a:ext>
            </a:extLst>
          </p:cNvPr>
          <p:cNvSpPr>
            <a:spLocks noGrp="1"/>
          </p:cNvSpPr>
          <p:nvPr>
            <p:ph idx="12"/>
          </p:nvPr>
        </p:nvSpPr>
        <p:spPr bwMode="blackWhite">
          <a:xfrm>
            <a:off x="8187189" y="1414462"/>
            <a:ext cx="3600000" cy="43920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1"/>
            </a:solidFill>
          </a:ln>
        </p:spPr>
        <p:txBody>
          <a:bodyPr lIns="216000" tIns="144000" rIns="216000" bIns="14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accent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accent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accent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accent1"/>
              </a:buClr>
              <a:defRPr>
                <a:solidFill>
                  <a:schemeClr val="bg1"/>
                </a:solidFill>
              </a:defRPr>
            </a:lvl8pPr>
            <a:lvl9pPr>
              <a:buClr>
                <a:schemeClr val="accent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91FCCEDD-7521-4BD5-8A32-A62DA624670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DC2AAE3E-7F56-4838-BCE7-6B966549F4D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Siemens Logo">
            <a:extLst>
              <a:ext uri="{FF2B5EF4-FFF2-40B4-BE49-F238E27FC236}">
                <a16:creationId xmlns:a16="http://schemas.microsoft.com/office/drawing/2014/main" id="{E5DDD55C-5C17-4BCD-A9BB-FE8A69DC48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79168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2526">
          <p15:clr>
            <a:srgbClr val="65CEFF"/>
          </p15:clr>
        </p15:guide>
        <p15:guide id="3" pos="2708">
          <p15:clr>
            <a:srgbClr val="65CEFF"/>
          </p15:clr>
        </p15:guide>
        <p15:guide id="4" pos="4975">
          <p15:clr>
            <a:srgbClr val="65CEFF"/>
          </p15:clr>
        </p15:guide>
        <p15:guide id="5" pos="5157">
          <p15:clr>
            <a:srgbClr val="65CEFF"/>
          </p15:clr>
        </p15:guide>
        <p15:guide id="6" pos="6472">
          <p15:clr>
            <a:srgbClr val="65CEFF"/>
          </p15:clr>
        </p15:guide>
        <p15:guide id="7" pos="7425">
          <p15:clr>
            <a:srgbClr val="65CEFF"/>
          </p15:clr>
        </p15:guide>
        <p15:guide id="8" orient="horz" pos="302">
          <p15:clr>
            <a:srgbClr val="65CEFF"/>
          </p15:clr>
        </p15:guide>
        <p15:guide id="9" orient="horz" pos="664">
          <p15:clr>
            <a:srgbClr val="65CEFF"/>
          </p15:clr>
        </p15:guide>
        <p15:guide id="10" orient="horz" pos="891">
          <p15:clr>
            <a:srgbClr val="65CEFF"/>
          </p15:clr>
        </p15:guide>
        <p15:guide id="11" orient="horz" pos="3658">
          <p15:clr>
            <a:srgbClr val="65CEFF"/>
          </p15:clr>
        </p15:guide>
        <p15:guide id="12" orient="horz" pos="3885">
          <p15:clr>
            <a:srgbClr val="65CEFF"/>
          </p15:clr>
        </p15:guide>
        <p15:guide id="13" orient="horz" pos="4157">
          <p15:clr>
            <a:srgbClr val="65CEFF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76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2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accent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2" name="Quote marks">
            <a:extLst>
              <a:ext uri="{FF2B5EF4-FFF2-40B4-BE49-F238E27FC236}">
                <a16:creationId xmlns:a16="http://schemas.microsoft.com/office/drawing/2014/main" id="{58EF2AB0-A78A-44C9-9A7D-F20D9ED854E0}"/>
              </a:ext>
            </a:extLst>
          </p:cNvPr>
          <p:cNvSpPr/>
          <p:nvPr/>
        </p:nvSpPr>
        <p:spPr bwMode="black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6AEDD147-ACC0-4A9C-9043-90612765C0F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4131F54F-C70B-4435-91E6-F995F83E6C6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95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2206">
          <p15:clr>
            <a:srgbClr val="65CEFF"/>
          </p15:clr>
        </p15:guide>
        <p15:guide id="7" orient="horz" pos="2343">
          <p15:clr>
            <a:srgbClr val="65CEFF"/>
          </p15:clr>
        </p15:guide>
        <p15:guide id="8" orient="horz" pos="3658">
          <p15:clr>
            <a:srgbClr val="65CEFF"/>
          </p15:clr>
        </p15:guide>
        <p15:guide id="9" orient="horz" pos="3885">
          <p15:clr>
            <a:srgbClr val="65CEFF"/>
          </p15:clr>
        </p15:guide>
        <p15:guide id="10" orient="horz" pos="4157">
          <p15:clr>
            <a:srgbClr val="65CEFF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py">
            <a:extLst>
              <a:ext uri="{FF2B5EF4-FFF2-40B4-BE49-F238E27FC236}">
                <a16:creationId xmlns:a16="http://schemas.microsoft.com/office/drawing/2014/main" id="{9E21D6DF-C9DB-4F02-863A-C5513347A2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1022400" y="1702799"/>
            <a:ext cx="9252000" cy="4104000"/>
          </a:xfrm>
        </p:spPr>
        <p:txBody>
          <a:bodyPr>
            <a:noAutofit/>
          </a:bodyPr>
          <a:lstStyle>
            <a:lvl1pPr marL="0">
              <a:lnSpc>
                <a:spcPct val="110000"/>
              </a:lnSpc>
              <a:spcAft>
                <a:spcPts val="0"/>
              </a:spcAft>
              <a:defRPr sz="4800" b="0">
                <a:solidFill>
                  <a:schemeClr val="tx1"/>
                </a:solidFill>
              </a:defRPr>
            </a:lvl1pPr>
            <a:lvl2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/>
            </a:lvl2pPr>
            <a:lvl3pPr marL="36000" indent="0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None/>
              <a:defRPr sz="1800">
                <a:solidFill>
                  <a:schemeClr val="tx1"/>
                </a:solidFill>
              </a:defRPr>
            </a:lvl3pPr>
            <a:lvl4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4pPr>
            <a:lvl5pPr marL="0" indent="0">
              <a:lnSpc>
                <a:spcPct val="110000"/>
              </a:lnSpc>
              <a:spcAft>
                <a:spcPts val="0"/>
              </a:spcAft>
              <a:buNone/>
              <a:defRPr sz="4800"/>
            </a:lvl5pPr>
          </a:lstStyle>
          <a:p>
            <a:pPr lvl="0"/>
            <a:r>
              <a:rPr lang="en-US" dirty="0"/>
              <a:t>Please insert quote here</a:t>
            </a:r>
          </a:p>
          <a:p>
            <a:pPr lvl="1"/>
            <a:r>
              <a:rPr lang="en-US" dirty="0"/>
              <a:t>Name, Author</a:t>
            </a:r>
          </a:p>
        </p:txBody>
      </p:sp>
      <p:sp>
        <p:nvSpPr>
          <p:cNvPr id="11" name="Quote marks">
            <a:extLst>
              <a:ext uri="{FF2B5EF4-FFF2-40B4-BE49-F238E27FC236}">
                <a16:creationId xmlns:a16="http://schemas.microsoft.com/office/drawing/2014/main" id="{916E4245-F21C-4EAB-8B26-FEA21C26067F}"/>
              </a:ext>
            </a:extLst>
          </p:cNvPr>
          <p:cNvSpPr/>
          <p:nvPr userDrawn="1"/>
        </p:nvSpPr>
        <p:spPr bwMode="black">
          <a:xfrm>
            <a:off x="1058400" y="766763"/>
            <a:ext cx="907891" cy="647700"/>
          </a:xfrm>
          <a:custGeom>
            <a:avLst/>
            <a:gdLst>
              <a:gd name="connsiteX0" fmla="*/ 0 w 2619164"/>
              <a:gd name="connsiteY0" fmla="*/ 1868543 h 1868542"/>
              <a:gd name="connsiteX1" fmla="*/ 742610 w 2619164"/>
              <a:gd name="connsiteY1" fmla="*/ 0 h 1868542"/>
              <a:gd name="connsiteX2" fmla="*/ 1318210 w 2619164"/>
              <a:gd name="connsiteY2" fmla="*/ 0 h 1868542"/>
              <a:gd name="connsiteX3" fmla="*/ 742610 w 2619164"/>
              <a:gd name="connsiteY3" fmla="*/ 1868543 h 1868542"/>
              <a:gd name="connsiteX4" fmla="*/ 0 w 2619164"/>
              <a:gd name="connsiteY4" fmla="*/ 1868543 h 1868542"/>
              <a:gd name="connsiteX5" fmla="*/ 1300954 w 2619164"/>
              <a:gd name="connsiteY5" fmla="*/ 1868543 h 1868542"/>
              <a:gd name="connsiteX6" fmla="*/ 2043564 w 2619164"/>
              <a:gd name="connsiteY6" fmla="*/ 0 h 1868542"/>
              <a:gd name="connsiteX7" fmla="*/ 2619164 w 2619164"/>
              <a:gd name="connsiteY7" fmla="*/ 0 h 1868542"/>
              <a:gd name="connsiteX8" fmla="*/ 2043564 w 2619164"/>
              <a:gd name="connsiteY8" fmla="*/ 1868543 h 1868542"/>
              <a:gd name="connsiteX9" fmla="*/ 1300954 w 2619164"/>
              <a:gd name="connsiteY9" fmla="*/ 1868543 h 18685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19164" h="1868542">
                <a:moveTo>
                  <a:pt x="0" y="1868543"/>
                </a:moveTo>
                <a:lnTo>
                  <a:pt x="742610" y="0"/>
                </a:lnTo>
                <a:lnTo>
                  <a:pt x="1318210" y="0"/>
                </a:lnTo>
                <a:lnTo>
                  <a:pt x="742610" y="1868543"/>
                </a:lnTo>
                <a:lnTo>
                  <a:pt x="0" y="1868543"/>
                </a:lnTo>
                <a:close/>
                <a:moveTo>
                  <a:pt x="1300954" y="1868543"/>
                </a:moveTo>
                <a:lnTo>
                  <a:pt x="2043564" y="0"/>
                </a:lnTo>
                <a:lnTo>
                  <a:pt x="2619164" y="0"/>
                </a:lnTo>
                <a:lnTo>
                  <a:pt x="2043564" y="1868543"/>
                </a:lnTo>
                <a:lnTo>
                  <a:pt x="1300954" y="1868543"/>
                </a:lnTo>
                <a:close/>
              </a:path>
            </a:pathLst>
          </a:custGeom>
          <a:gradFill>
            <a:gsLst>
              <a:gs pos="0">
                <a:srgbClr val="00FFB9"/>
              </a:gs>
              <a:gs pos="100000">
                <a:srgbClr val="00E6DC"/>
              </a:gs>
            </a:gsLst>
            <a:lin ang="5400000" scaled="1"/>
          </a:gradFill>
          <a:ln w="61580" cap="flat">
            <a:noFill/>
            <a:prstDash val="solid"/>
            <a:miter/>
          </a:ln>
        </p:spPr>
        <p:txBody>
          <a:bodyPr rtlCol="0" anchor="ctr"/>
          <a:lstStyle/>
          <a:p>
            <a:endParaRPr lang="en-US" dirty="0"/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EC4F35EF-AC94-4800-9CB7-CA49CAFDD24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CCC7FBE7-01B9-4EC8-8BE1-F416F7C5B7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8" name="Siemens Logo">
            <a:extLst>
              <a:ext uri="{FF2B5EF4-FFF2-40B4-BE49-F238E27FC236}">
                <a16:creationId xmlns:a16="http://schemas.microsoft.com/office/drawing/2014/main" id="{AF2E271F-5AF7-408E-9752-03D1D6448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3528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91">
          <p15:clr>
            <a:srgbClr val="65CEFF"/>
          </p15:clr>
        </p15:guide>
        <p15:guide id="5" orient="horz" pos="1073">
          <p15:clr>
            <a:srgbClr val="65CEFF"/>
          </p15:clr>
        </p15:guide>
        <p15:guide id="6" orient="horz" pos="3658">
          <p15:clr>
            <a:srgbClr val="65CEFF"/>
          </p15:clr>
        </p15:guide>
        <p15:guide id="7" orient="horz" pos="3885">
          <p15:clr>
            <a:srgbClr val="65CEFF"/>
          </p15:clr>
        </p15:guide>
        <p15:guide id="8" orient="horz" pos="4157">
          <p15:clr>
            <a:srgbClr val="65CEFF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1538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39F9E844-3827-4B6C-9CB5-13C9A70DCD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D52C2AF7-8539-453F-BD56-35B696DB207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F8D833B7-9866-4D2D-AEB7-012D6DDE2A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26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a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39939C22-A735-46A9-A277-A4B1B330F31C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986400" y="1270799"/>
            <a:ext cx="10800000" cy="4536000"/>
          </a:xfrm>
        </p:spPr>
        <p:txBody>
          <a:bodyPr lIns="0" tIns="0" rIns="0" bIns="0" anchor="t">
            <a:noAutofit/>
          </a:bodyPr>
          <a:lstStyle>
            <a:lvl1pPr>
              <a:lnSpc>
                <a:spcPct val="90000"/>
              </a:lnSpc>
              <a:defRPr sz="80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09BD8BE5-BFF2-469D-8B93-9556FCC45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 bwMode="black"/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3" name="Slide Number Placeholder">
            <a:extLst>
              <a:ext uri="{FF2B5EF4-FFF2-40B4-BE49-F238E27FC236}">
                <a16:creationId xmlns:a16="http://schemas.microsoft.com/office/drawing/2014/main" id="{F9372441-FA7E-4481-BBC2-24CB6D3017C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black"/>
        <p:txBody>
          <a:bodyPr/>
          <a:lstStyle/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4" name="Siemens Logo">
            <a:extLst>
              <a:ext uri="{FF2B5EF4-FFF2-40B4-BE49-F238E27FC236}">
                <a16:creationId xmlns:a16="http://schemas.microsoft.com/office/drawing/2014/main" id="{0EF6BB07-4F4E-4859-9572-DA63E35B93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 bwMode="black">
          <a:xfrm>
            <a:off x="10635188" y="6418800"/>
            <a:ext cx="1152000" cy="183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5872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59">
          <p15:clr>
            <a:srgbClr val="65CEFF"/>
          </p15:clr>
        </p15:guide>
        <p15:guide id="2" pos="6472">
          <p15:clr>
            <a:srgbClr val="65CEFF"/>
          </p15:clr>
        </p15:guide>
        <p15:guide id="3" pos="7425">
          <p15:clr>
            <a:srgbClr val="65CEFF"/>
          </p15:clr>
        </p15:guide>
        <p15:guide id="4" orient="horz" pos="801">
          <p15:clr>
            <a:srgbClr val="65CEFF"/>
          </p15:clr>
        </p15:guide>
        <p15:guide id="5" orient="horz" pos="3658">
          <p15:clr>
            <a:srgbClr val="65CEFF"/>
          </p15:clr>
        </p15:guide>
        <p15:guide id="6" orient="horz" pos="4157">
          <p15:clr>
            <a:srgbClr val="65CEFF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theme" Target="../theme/theme1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1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9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67.xml"/><Relationship Id="rId34" Type="http://schemas.openxmlformats.org/officeDocument/2006/relationships/slideLayout" Target="../slideLayouts/slideLayout80.xml"/><Relationship Id="rId42" Type="http://schemas.openxmlformats.org/officeDocument/2006/relationships/slideLayout" Target="../slideLayouts/slideLayout88.xml"/><Relationship Id="rId47" Type="http://schemas.openxmlformats.org/officeDocument/2006/relationships/slideLayout" Target="../slideLayouts/slideLayout93.xml"/><Relationship Id="rId50" Type="http://schemas.openxmlformats.org/officeDocument/2006/relationships/slideLayout" Target="../slideLayouts/slideLayout96.xml"/><Relationship Id="rId55" Type="http://schemas.openxmlformats.org/officeDocument/2006/relationships/theme" Target="../theme/theme2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slideLayout" Target="../slideLayouts/slideLayout79.xml"/><Relationship Id="rId38" Type="http://schemas.openxmlformats.org/officeDocument/2006/relationships/slideLayout" Target="../slideLayouts/slideLayout84.xml"/><Relationship Id="rId46" Type="http://schemas.openxmlformats.org/officeDocument/2006/relationships/slideLayout" Target="../slideLayouts/slideLayout92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5.xml"/><Relationship Id="rId41" Type="http://schemas.openxmlformats.org/officeDocument/2006/relationships/slideLayout" Target="../slideLayouts/slideLayout87.xml"/><Relationship Id="rId54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slideLayout" Target="../slideLayouts/slideLayout78.xml"/><Relationship Id="rId37" Type="http://schemas.openxmlformats.org/officeDocument/2006/relationships/slideLayout" Target="../slideLayouts/slideLayout83.xml"/><Relationship Id="rId40" Type="http://schemas.openxmlformats.org/officeDocument/2006/relationships/slideLayout" Target="../slideLayouts/slideLayout86.xml"/><Relationship Id="rId45" Type="http://schemas.openxmlformats.org/officeDocument/2006/relationships/slideLayout" Target="../slideLayouts/slideLayout91.xml"/><Relationship Id="rId53" Type="http://schemas.openxmlformats.org/officeDocument/2006/relationships/slideLayout" Target="../slideLayouts/slideLayout99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36" Type="http://schemas.openxmlformats.org/officeDocument/2006/relationships/slideLayout" Target="../slideLayouts/slideLayout82.xml"/><Relationship Id="rId49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slideLayout" Target="../slideLayouts/slideLayout77.xml"/><Relationship Id="rId44" Type="http://schemas.openxmlformats.org/officeDocument/2006/relationships/slideLayout" Target="../slideLayouts/slideLayout90.xml"/><Relationship Id="rId52" Type="http://schemas.openxmlformats.org/officeDocument/2006/relationships/slideLayout" Target="../slideLayouts/slideLayout98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slideLayout" Target="../slideLayouts/slideLayout81.xml"/><Relationship Id="rId43" Type="http://schemas.openxmlformats.org/officeDocument/2006/relationships/slideLayout" Target="../slideLayouts/slideLayout89.xml"/><Relationship Id="rId48" Type="http://schemas.openxmlformats.org/officeDocument/2006/relationships/slideLayout" Target="../slideLayouts/slideLayout94.xml"/><Relationship Id="rId8" Type="http://schemas.openxmlformats.org/officeDocument/2006/relationships/slideLayout" Target="../slideLayouts/slideLayout54.xml"/><Relationship Id="rId51" Type="http://schemas.openxmlformats.org/officeDocument/2006/relationships/slideLayout" Target="../slideLayouts/slideLayout97.xml"/><Relationship Id="rId3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9" Type="http://schemas.openxmlformats.org/officeDocument/2006/relationships/slideLayout" Target="../slideLayouts/slideLayout139.xml"/><Relationship Id="rId21" Type="http://schemas.openxmlformats.org/officeDocument/2006/relationships/slideLayout" Target="../slideLayouts/slideLayout121.xml"/><Relationship Id="rId34" Type="http://schemas.openxmlformats.org/officeDocument/2006/relationships/slideLayout" Target="../slideLayouts/slideLayout134.xml"/><Relationship Id="rId42" Type="http://schemas.openxmlformats.org/officeDocument/2006/relationships/slideLayout" Target="../slideLayouts/slideLayout142.xml"/><Relationship Id="rId47" Type="http://schemas.openxmlformats.org/officeDocument/2006/relationships/slideLayout" Target="../slideLayouts/slideLayout147.xml"/><Relationship Id="rId50" Type="http://schemas.openxmlformats.org/officeDocument/2006/relationships/slideLayout" Target="../slideLayouts/slideLayout150.xml"/><Relationship Id="rId55" Type="http://schemas.openxmlformats.org/officeDocument/2006/relationships/theme" Target="../theme/theme3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33" Type="http://schemas.openxmlformats.org/officeDocument/2006/relationships/slideLayout" Target="../slideLayouts/slideLayout133.xml"/><Relationship Id="rId38" Type="http://schemas.openxmlformats.org/officeDocument/2006/relationships/slideLayout" Target="../slideLayouts/slideLayout138.xml"/><Relationship Id="rId46" Type="http://schemas.openxmlformats.org/officeDocument/2006/relationships/slideLayout" Target="../slideLayouts/slideLayout146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41.xml"/><Relationship Id="rId54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32" Type="http://schemas.openxmlformats.org/officeDocument/2006/relationships/slideLayout" Target="../slideLayouts/slideLayout132.xml"/><Relationship Id="rId37" Type="http://schemas.openxmlformats.org/officeDocument/2006/relationships/slideLayout" Target="../slideLayouts/slideLayout137.xml"/><Relationship Id="rId40" Type="http://schemas.openxmlformats.org/officeDocument/2006/relationships/slideLayout" Target="../slideLayouts/slideLayout140.xml"/><Relationship Id="rId45" Type="http://schemas.openxmlformats.org/officeDocument/2006/relationships/slideLayout" Target="../slideLayouts/slideLayout145.xml"/><Relationship Id="rId53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slideLayout" Target="../slideLayouts/slideLayout128.xml"/><Relationship Id="rId36" Type="http://schemas.openxmlformats.org/officeDocument/2006/relationships/slideLayout" Target="../slideLayouts/slideLayout136.xml"/><Relationship Id="rId49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31.xml"/><Relationship Id="rId44" Type="http://schemas.openxmlformats.org/officeDocument/2006/relationships/slideLayout" Target="../slideLayouts/slideLayout144.xml"/><Relationship Id="rId52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Relationship Id="rId30" Type="http://schemas.openxmlformats.org/officeDocument/2006/relationships/slideLayout" Target="../slideLayouts/slideLayout130.xml"/><Relationship Id="rId35" Type="http://schemas.openxmlformats.org/officeDocument/2006/relationships/slideLayout" Target="../slideLayouts/slideLayout135.xml"/><Relationship Id="rId43" Type="http://schemas.openxmlformats.org/officeDocument/2006/relationships/slideLayout" Target="../slideLayouts/slideLayout143.xml"/><Relationship Id="rId48" Type="http://schemas.openxmlformats.org/officeDocument/2006/relationships/slideLayout" Target="../slideLayouts/slideLayout148.xml"/><Relationship Id="rId8" Type="http://schemas.openxmlformats.org/officeDocument/2006/relationships/slideLayout" Target="../slideLayouts/slideLayout108.xml"/><Relationship Id="rId51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0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7.xml"/><Relationship Id="rId18" Type="http://schemas.openxmlformats.org/officeDocument/2006/relationships/slideLayout" Target="../slideLayouts/slideLayout172.xml"/><Relationship Id="rId26" Type="http://schemas.openxmlformats.org/officeDocument/2006/relationships/slideLayout" Target="../slideLayouts/slideLayout180.xml"/><Relationship Id="rId39" Type="http://schemas.openxmlformats.org/officeDocument/2006/relationships/slideLayout" Target="../slideLayouts/slideLayout193.xml"/><Relationship Id="rId3" Type="http://schemas.openxmlformats.org/officeDocument/2006/relationships/slideLayout" Target="../slideLayouts/slideLayout157.xml"/><Relationship Id="rId21" Type="http://schemas.openxmlformats.org/officeDocument/2006/relationships/slideLayout" Target="../slideLayouts/slideLayout175.xml"/><Relationship Id="rId34" Type="http://schemas.openxmlformats.org/officeDocument/2006/relationships/slideLayout" Target="../slideLayouts/slideLayout188.xml"/><Relationship Id="rId42" Type="http://schemas.openxmlformats.org/officeDocument/2006/relationships/slideLayout" Target="../slideLayouts/slideLayout196.xml"/><Relationship Id="rId47" Type="http://schemas.openxmlformats.org/officeDocument/2006/relationships/theme" Target="../theme/theme4.xml"/><Relationship Id="rId50" Type="http://schemas.openxmlformats.org/officeDocument/2006/relationships/oleObject" Target="../embeddings/oleObject3.bin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5" Type="http://schemas.openxmlformats.org/officeDocument/2006/relationships/slideLayout" Target="../slideLayouts/slideLayout179.xml"/><Relationship Id="rId33" Type="http://schemas.openxmlformats.org/officeDocument/2006/relationships/slideLayout" Target="../slideLayouts/slideLayout187.xml"/><Relationship Id="rId38" Type="http://schemas.openxmlformats.org/officeDocument/2006/relationships/slideLayout" Target="../slideLayouts/slideLayout192.xml"/><Relationship Id="rId46" Type="http://schemas.openxmlformats.org/officeDocument/2006/relationships/slideLayout" Target="../slideLayouts/slideLayout200.xml"/><Relationship Id="rId2" Type="http://schemas.openxmlformats.org/officeDocument/2006/relationships/slideLayout" Target="../slideLayouts/slideLayout156.xml"/><Relationship Id="rId16" Type="http://schemas.openxmlformats.org/officeDocument/2006/relationships/slideLayout" Target="../slideLayouts/slideLayout170.xml"/><Relationship Id="rId20" Type="http://schemas.openxmlformats.org/officeDocument/2006/relationships/slideLayout" Target="../slideLayouts/slideLayout174.xml"/><Relationship Id="rId29" Type="http://schemas.openxmlformats.org/officeDocument/2006/relationships/slideLayout" Target="../slideLayouts/slideLayout183.xml"/><Relationship Id="rId41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24" Type="http://schemas.openxmlformats.org/officeDocument/2006/relationships/slideLayout" Target="../slideLayouts/slideLayout178.xml"/><Relationship Id="rId32" Type="http://schemas.openxmlformats.org/officeDocument/2006/relationships/slideLayout" Target="../slideLayouts/slideLayout186.xml"/><Relationship Id="rId37" Type="http://schemas.openxmlformats.org/officeDocument/2006/relationships/slideLayout" Target="../slideLayouts/slideLayout191.xml"/><Relationship Id="rId40" Type="http://schemas.openxmlformats.org/officeDocument/2006/relationships/slideLayout" Target="../slideLayouts/slideLayout194.xml"/><Relationship Id="rId45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9.xml"/><Relationship Id="rId23" Type="http://schemas.openxmlformats.org/officeDocument/2006/relationships/slideLayout" Target="../slideLayouts/slideLayout177.xml"/><Relationship Id="rId28" Type="http://schemas.openxmlformats.org/officeDocument/2006/relationships/slideLayout" Target="../slideLayouts/slideLayout182.xml"/><Relationship Id="rId36" Type="http://schemas.openxmlformats.org/officeDocument/2006/relationships/slideLayout" Target="../slideLayouts/slideLayout190.xml"/><Relationship Id="rId49" Type="http://schemas.openxmlformats.org/officeDocument/2006/relationships/tags" Target="../tags/tag6.xml"/><Relationship Id="rId10" Type="http://schemas.openxmlformats.org/officeDocument/2006/relationships/slideLayout" Target="../slideLayouts/slideLayout164.xml"/><Relationship Id="rId19" Type="http://schemas.openxmlformats.org/officeDocument/2006/relationships/slideLayout" Target="../slideLayouts/slideLayout173.xml"/><Relationship Id="rId31" Type="http://schemas.openxmlformats.org/officeDocument/2006/relationships/slideLayout" Target="../slideLayouts/slideLayout185.xml"/><Relationship Id="rId44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slideLayout" Target="../slideLayouts/slideLayout168.xml"/><Relationship Id="rId22" Type="http://schemas.openxmlformats.org/officeDocument/2006/relationships/slideLayout" Target="../slideLayouts/slideLayout176.xml"/><Relationship Id="rId27" Type="http://schemas.openxmlformats.org/officeDocument/2006/relationships/slideLayout" Target="../slideLayouts/slideLayout181.xml"/><Relationship Id="rId30" Type="http://schemas.openxmlformats.org/officeDocument/2006/relationships/slideLayout" Target="../slideLayouts/slideLayout184.xml"/><Relationship Id="rId35" Type="http://schemas.openxmlformats.org/officeDocument/2006/relationships/slideLayout" Target="../slideLayouts/slideLayout189.xml"/><Relationship Id="rId43" Type="http://schemas.openxmlformats.org/officeDocument/2006/relationships/slideLayout" Target="../slideLayouts/slideLayout197.xml"/><Relationship Id="rId48" Type="http://schemas.openxmlformats.org/officeDocument/2006/relationships/tags" Target="../tags/tag5.xml"/><Relationship Id="rId8" Type="http://schemas.openxmlformats.org/officeDocument/2006/relationships/slideLayout" Target="../slideLayouts/slideLayout162.xml"/><Relationship Id="rId51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3.xml"/><Relationship Id="rId18" Type="http://schemas.openxmlformats.org/officeDocument/2006/relationships/slideLayout" Target="../slideLayouts/slideLayout218.xml"/><Relationship Id="rId26" Type="http://schemas.openxmlformats.org/officeDocument/2006/relationships/slideLayout" Target="../slideLayouts/slideLayout226.xml"/><Relationship Id="rId39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03.xml"/><Relationship Id="rId21" Type="http://schemas.openxmlformats.org/officeDocument/2006/relationships/slideLayout" Target="../slideLayouts/slideLayout221.xml"/><Relationship Id="rId34" Type="http://schemas.openxmlformats.org/officeDocument/2006/relationships/slideLayout" Target="../slideLayouts/slideLayout234.xml"/><Relationship Id="rId42" Type="http://schemas.openxmlformats.org/officeDocument/2006/relationships/slideLayout" Target="../slideLayouts/slideLayout242.xml"/><Relationship Id="rId47" Type="http://schemas.openxmlformats.org/officeDocument/2006/relationships/theme" Target="../theme/theme5.xml"/><Relationship Id="rId50" Type="http://schemas.openxmlformats.org/officeDocument/2006/relationships/oleObject" Target="../embeddings/oleObject3.bin"/><Relationship Id="rId7" Type="http://schemas.openxmlformats.org/officeDocument/2006/relationships/slideLayout" Target="../slideLayouts/slideLayout207.xml"/><Relationship Id="rId12" Type="http://schemas.openxmlformats.org/officeDocument/2006/relationships/slideLayout" Target="../slideLayouts/slideLayout212.xml"/><Relationship Id="rId17" Type="http://schemas.openxmlformats.org/officeDocument/2006/relationships/slideLayout" Target="../slideLayouts/slideLayout217.xml"/><Relationship Id="rId25" Type="http://schemas.openxmlformats.org/officeDocument/2006/relationships/slideLayout" Target="../slideLayouts/slideLayout225.xml"/><Relationship Id="rId33" Type="http://schemas.openxmlformats.org/officeDocument/2006/relationships/slideLayout" Target="../slideLayouts/slideLayout233.xml"/><Relationship Id="rId38" Type="http://schemas.openxmlformats.org/officeDocument/2006/relationships/slideLayout" Target="../slideLayouts/slideLayout238.xml"/><Relationship Id="rId46" Type="http://schemas.openxmlformats.org/officeDocument/2006/relationships/slideLayout" Target="../slideLayouts/slideLayout246.xml"/><Relationship Id="rId2" Type="http://schemas.openxmlformats.org/officeDocument/2006/relationships/slideLayout" Target="../slideLayouts/slideLayout202.xml"/><Relationship Id="rId16" Type="http://schemas.openxmlformats.org/officeDocument/2006/relationships/slideLayout" Target="../slideLayouts/slideLayout216.xml"/><Relationship Id="rId20" Type="http://schemas.openxmlformats.org/officeDocument/2006/relationships/slideLayout" Target="../slideLayouts/slideLayout220.xml"/><Relationship Id="rId29" Type="http://schemas.openxmlformats.org/officeDocument/2006/relationships/slideLayout" Target="../slideLayouts/slideLayout229.xml"/><Relationship Id="rId41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11" Type="http://schemas.openxmlformats.org/officeDocument/2006/relationships/slideLayout" Target="../slideLayouts/slideLayout211.xml"/><Relationship Id="rId24" Type="http://schemas.openxmlformats.org/officeDocument/2006/relationships/slideLayout" Target="../slideLayouts/slideLayout224.xml"/><Relationship Id="rId32" Type="http://schemas.openxmlformats.org/officeDocument/2006/relationships/slideLayout" Target="../slideLayouts/slideLayout232.xml"/><Relationship Id="rId37" Type="http://schemas.openxmlformats.org/officeDocument/2006/relationships/slideLayout" Target="../slideLayouts/slideLayout237.xml"/><Relationship Id="rId40" Type="http://schemas.openxmlformats.org/officeDocument/2006/relationships/slideLayout" Target="../slideLayouts/slideLayout240.xml"/><Relationship Id="rId45" Type="http://schemas.openxmlformats.org/officeDocument/2006/relationships/slideLayout" Target="../slideLayouts/slideLayout245.xml"/><Relationship Id="rId5" Type="http://schemas.openxmlformats.org/officeDocument/2006/relationships/slideLayout" Target="../slideLayouts/slideLayout205.xml"/><Relationship Id="rId15" Type="http://schemas.openxmlformats.org/officeDocument/2006/relationships/slideLayout" Target="../slideLayouts/slideLayout215.xml"/><Relationship Id="rId23" Type="http://schemas.openxmlformats.org/officeDocument/2006/relationships/slideLayout" Target="../slideLayouts/slideLayout223.xml"/><Relationship Id="rId28" Type="http://schemas.openxmlformats.org/officeDocument/2006/relationships/slideLayout" Target="../slideLayouts/slideLayout228.xml"/><Relationship Id="rId36" Type="http://schemas.openxmlformats.org/officeDocument/2006/relationships/slideLayout" Target="../slideLayouts/slideLayout236.xml"/><Relationship Id="rId49" Type="http://schemas.openxmlformats.org/officeDocument/2006/relationships/tags" Target="../tags/tag10.xml"/><Relationship Id="rId10" Type="http://schemas.openxmlformats.org/officeDocument/2006/relationships/slideLayout" Target="../slideLayouts/slideLayout210.xml"/><Relationship Id="rId19" Type="http://schemas.openxmlformats.org/officeDocument/2006/relationships/slideLayout" Target="../slideLayouts/slideLayout219.xml"/><Relationship Id="rId31" Type="http://schemas.openxmlformats.org/officeDocument/2006/relationships/slideLayout" Target="../slideLayouts/slideLayout231.xml"/><Relationship Id="rId44" Type="http://schemas.openxmlformats.org/officeDocument/2006/relationships/slideLayout" Target="../slideLayouts/slideLayout244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Relationship Id="rId14" Type="http://schemas.openxmlformats.org/officeDocument/2006/relationships/slideLayout" Target="../slideLayouts/slideLayout214.xml"/><Relationship Id="rId22" Type="http://schemas.openxmlformats.org/officeDocument/2006/relationships/slideLayout" Target="../slideLayouts/slideLayout222.xml"/><Relationship Id="rId27" Type="http://schemas.openxmlformats.org/officeDocument/2006/relationships/slideLayout" Target="../slideLayouts/slideLayout227.xml"/><Relationship Id="rId30" Type="http://schemas.openxmlformats.org/officeDocument/2006/relationships/slideLayout" Target="../slideLayouts/slideLayout230.xml"/><Relationship Id="rId35" Type="http://schemas.openxmlformats.org/officeDocument/2006/relationships/slideLayout" Target="../slideLayouts/slideLayout235.xml"/><Relationship Id="rId43" Type="http://schemas.openxmlformats.org/officeDocument/2006/relationships/slideLayout" Target="../slideLayouts/slideLayout243.xml"/><Relationship Id="rId48" Type="http://schemas.openxmlformats.org/officeDocument/2006/relationships/tags" Target="../tags/tag9.xml"/><Relationship Id="rId8" Type="http://schemas.openxmlformats.org/officeDocument/2006/relationships/slideLayout" Target="../slideLayouts/slideLayout208.xml"/><Relationship Id="rId51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BB89DA8-A872-446D-80FE-9D7B7C3A34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461589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0" imgW="306" imgH="306" progId="TCLayout.ActiveDocument.1">
                  <p:embed/>
                </p:oleObj>
              </mc:Choice>
              <mc:Fallback>
                <p:oleObj name="think-cell Folie" r:id="rId50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BB89DA8-A872-446D-80FE-9D7B7C3A3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EF07EF9-44DB-4AA0-B795-5427EB8EBA74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September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3740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 bwMode="black"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black"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black"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7991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  <p:sldLayoutId id="2147483729" r:id="rId22"/>
    <p:sldLayoutId id="2147483730" r:id="rId23"/>
    <p:sldLayoutId id="2147483731" r:id="rId24"/>
    <p:sldLayoutId id="2147483732" r:id="rId25"/>
    <p:sldLayoutId id="2147483733" r:id="rId26"/>
    <p:sldLayoutId id="2147483734" r:id="rId27"/>
    <p:sldLayoutId id="2147483735" r:id="rId28"/>
    <p:sldLayoutId id="2147483736" r:id="rId29"/>
    <p:sldLayoutId id="2147483737" r:id="rId30"/>
    <p:sldLayoutId id="2147483738" r:id="rId31"/>
    <p:sldLayoutId id="2147483739" r:id="rId32"/>
    <p:sldLayoutId id="2147483740" r:id="rId33"/>
    <p:sldLayoutId id="2147483741" r:id="rId34"/>
    <p:sldLayoutId id="2147483742" r:id="rId35"/>
    <p:sldLayoutId id="2147483743" r:id="rId36"/>
    <p:sldLayoutId id="2147483744" r:id="rId37"/>
    <p:sldLayoutId id="2147483745" r:id="rId38"/>
    <p:sldLayoutId id="2147483746" r:id="rId39"/>
    <p:sldLayoutId id="2147483747" r:id="rId40"/>
    <p:sldLayoutId id="2147483748" r:id="rId41"/>
    <p:sldLayoutId id="2147483749" r:id="rId42"/>
    <p:sldLayoutId id="2147483750" r:id="rId43"/>
    <p:sldLayoutId id="2147483751" r:id="rId44"/>
    <p:sldLayoutId id="2147483752" r:id="rId45"/>
    <p:sldLayoutId id="2147483753" r:id="rId46"/>
    <p:sldLayoutId id="2147483754" r:id="rId47"/>
    <p:sldLayoutId id="2147483755" r:id="rId48"/>
    <p:sldLayoutId id="2147483756" r:id="rId49"/>
    <p:sldLayoutId id="2147483757" r:id="rId50"/>
    <p:sldLayoutId id="2147483758" r:id="rId51"/>
    <p:sldLayoutId id="2147483759" r:id="rId52"/>
    <p:sldLayoutId id="2147483760" r:id="rId53"/>
    <p:sldLayoutId id="2147483761" r:id="rId5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Restricted | © Siemens 20XX | Author | Department | YYYY-MM-DD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2477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  <p:sldLayoutId id="2147483776" r:id="rId14"/>
    <p:sldLayoutId id="2147483777" r:id="rId15"/>
    <p:sldLayoutId id="2147483778" r:id="rId16"/>
    <p:sldLayoutId id="2147483779" r:id="rId17"/>
    <p:sldLayoutId id="2147483780" r:id="rId18"/>
    <p:sldLayoutId id="2147483781" r:id="rId19"/>
    <p:sldLayoutId id="2147483782" r:id="rId20"/>
    <p:sldLayoutId id="2147483783" r:id="rId21"/>
    <p:sldLayoutId id="2147483784" r:id="rId22"/>
    <p:sldLayoutId id="2147483785" r:id="rId23"/>
    <p:sldLayoutId id="2147483786" r:id="rId24"/>
    <p:sldLayoutId id="2147483787" r:id="rId25"/>
    <p:sldLayoutId id="2147483788" r:id="rId26"/>
    <p:sldLayoutId id="2147483789" r:id="rId27"/>
    <p:sldLayoutId id="2147483790" r:id="rId28"/>
    <p:sldLayoutId id="2147483791" r:id="rId29"/>
    <p:sldLayoutId id="2147483792" r:id="rId30"/>
    <p:sldLayoutId id="2147483793" r:id="rId31"/>
    <p:sldLayoutId id="2147483794" r:id="rId32"/>
    <p:sldLayoutId id="2147483795" r:id="rId33"/>
    <p:sldLayoutId id="2147483796" r:id="rId34"/>
    <p:sldLayoutId id="2147483797" r:id="rId35"/>
    <p:sldLayoutId id="2147483798" r:id="rId36"/>
    <p:sldLayoutId id="2147483799" r:id="rId37"/>
    <p:sldLayoutId id="2147483800" r:id="rId38"/>
    <p:sldLayoutId id="2147483801" r:id="rId39"/>
    <p:sldLayoutId id="2147483802" r:id="rId40"/>
    <p:sldLayoutId id="2147483803" r:id="rId41"/>
    <p:sldLayoutId id="2147483804" r:id="rId42"/>
    <p:sldLayoutId id="2147483805" r:id="rId43"/>
    <p:sldLayoutId id="2147483806" r:id="rId44"/>
    <p:sldLayoutId id="2147483807" r:id="rId45"/>
    <p:sldLayoutId id="2147483808" r:id="rId46"/>
    <p:sldLayoutId id="2147483809" r:id="rId47"/>
    <p:sldLayoutId id="2147483810" r:id="rId48"/>
    <p:sldLayoutId id="2147483811" r:id="rId49"/>
    <p:sldLayoutId id="2147483812" r:id="rId50"/>
    <p:sldLayoutId id="2147483813" r:id="rId51"/>
    <p:sldLayoutId id="2147483814" r:id="rId52"/>
    <p:sldLayoutId id="2147483815" r:id="rId53"/>
    <p:sldLayoutId id="2147483816" r:id="rId5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BB89DA8-A872-446D-80FE-9D7B7C3A34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4251820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0" imgW="306" imgH="306" progId="TCLayout.ActiveDocument.1">
                  <p:embed/>
                </p:oleObj>
              </mc:Choice>
              <mc:Fallback>
                <p:oleObj name="think-cell Folie" r:id="rId50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BB89DA8-A872-446D-80FE-9D7B7C3A3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EF07EF9-44DB-4AA0-B795-5427EB8EBA74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7056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  <p:sldLayoutId id="2147483841" r:id="rId24"/>
    <p:sldLayoutId id="2147483842" r:id="rId25"/>
    <p:sldLayoutId id="2147483843" r:id="rId26"/>
    <p:sldLayoutId id="2147483844" r:id="rId27"/>
    <p:sldLayoutId id="2147483845" r:id="rId28"/>
    <p:sldLayoutId id="2147483846" r:id="rId29"/>
    <p:sldLayoutId id="2147483847" r:id="rId30"/>
    <p:sldLayoutId id="2147483848" r:id="rId31"/>
    <p:sldLayoutId id="2147483849" r:id="rId32"/>
    <p:sldLayoutId id="2147483850" r:id="rId33"/>
    <p:sldLayoutId id="2147483851" r:id="rId34"/>
    <p:sldLayoutId id="2147483852" r:id="rId35"/>
    <p:sldLayoutId id="2147483853" r:id="rId36"/>
    <p:sldLayoutId id="2147483854" r:id="rId37"/>
    <p:sldLayoutId id="2147483855" r:id="rId38"/>
    <p:sldLayoutId id="2147483856" r:id="rId39"/>
    <p:sldLayoutId id="2147483857" r:id="rId40"/>
    <p:sldLayoutId id="2147483858" r:id="rId41"/>
    <p:sldLayoutId id="2147483859" r:id="rId42"/>
    <p:sldLayoutId id="2147483860" r:id="rId43"/>
    <p:sldLayoutId id="2147483861" r:id="rId44"/>
    <p:sldLayoutId id="2147483862" r:id="rId45"/>
    <p:sldLayoutId id="2147483863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BB89DA8-A872-446D-80FE-9D7B7C3A34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6177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0" imgW="306" imgH="306" progId="TCLayout.ActiveDocument.1">
                  <p:embed/>
                </p:oleObj>
              </mc:Choice>
              <mc:Fallback>
                <p:oleObj name="think-cell Folie" r:id="rId50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BB89DA8-A872-446D-80FE-9D7B7C3A34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8EF07EF9-44DB-4AA0-B795-5427EB8EBA74}"/>
              </a:ext>
            </a:extLst>
          </p:cNvPr>
          <p:cNvSpPr/>
          <p:nvPr userDrawn="1">
            <p:custDataLst>
              <p:tags r:id="rId4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US" sz="20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">
            <a:extLst>
              <a:ext uri="{FF2B5EF4-FFF2-40B4-BE49-F238E27FC236}">
                <a16:creationId xmlns:a16="http://schemas.microsoft.com/office/drawing/2014/main" id="{2500D031-E8B7-42AD-B616-57A243A31E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0400" y="478800"/>
            <a:ext cx="9863997" cy="576000"/>
          </a:xfrm>
          <a:prstGeom prst="rect">
            <a:avLst/>
          </a:prstGeom>
        </p:spPr>
        <p:txBody>
          <a:bodyPr vert="horz" lIns="0" tIns="0" rIns="324000" bIns="1440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">
            <a:extLst>
              <a:ext uri="{FF2B5EF4-FFF2-40B4-BE49-F238E27FC236}">
                <a16:creationId xmlns:a16="http://schemas.microsoft.com/office/drawing/2014/main" id="{6750A408-ED0E-47CF-AC3A-5AD4A6E25C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1161" y="1414800"/>
            <a:ext cx="7200000" cy="453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4F5CAFE5-0972-49AB-B42B-7C613C153A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9160" y="6310800"/>
            <a:ext cx="9216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Unrestricted | © Siemens 2020 | Janurary 2021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1C051FD7-F65C-4306-9083-C9770A0AF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11162" y="6310800"/>
            <a:ext cx="648000" cy="547200"/>
          </a:xfrm>
          <a:prstGeom prst="rect">
            <a:avLst/>
          </a:prstGeom>
        </p:spPr>
        <p:txBody>
          <a:bodyPr vert="horz" lIns="0" tIns="0" rIns="0" bIns="61200" rtlCol="0" anchor="ctr" anchorCtr="0"/>
          <a:lstStyle>
            <a:lvl1pPr algn="l">
              <a:lnSpc>
                <a:spcPct val="100000"/>
              </a:lnSpc>
              <a:defRPr sz="900" b="1">
                <a:solidFill>
                  <a:schemeClr val="tx1"/>
                </a:solidFill>
              </a:defRPr>
            </a:lvl1pPr>
          </a:lstStyle>
          <a:p>
            <a:r>
              <a:rPr lang="en-US"/>
              <a:t>Page </a:t>
            </a:r>
            <a:fld id="{15EBE321-CBB1-4E91-BD14-37C8D44326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189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76" r:id="rId12"/>
    <p:sldLayoutId id="2147483877" r:id="rId13"/>
    <p:sldLayoutId id="2147483878" r:id="rId14"/>
    <p:sldLayoutId id="2147483879" r:id="rId15"/>
    <p:sldLayoutId id="2147483880" r:id="rId16"/>
    <p:sldLayoutId id="2147483881" r:id="rId17"/>
    <p:sldLayoutId id="2147483882" r:id="rId18"/>
    <p:sldLayoutId id="2147483883" r:id="rId19"/>
    <p:sldLayoutId id="2147483884" r:id="rId20"/>
    <p:sldLayoutId id="2147483885" r:id="rId21"/>
    <p:sldLayoutId id="2147483886" r:id="rId22"/>
    <p:sldLayoutId id="2147483887" r:id="rId23"/>
    <p:sldLayoutId id="2147483888" r:id="rId24"/>
    <p:sldLayoutId id="2147483889" r:id="rId25"/>
    <p:sldLayoutId id="2147483890" r:id="rId26"/>
    <p:sldLayoutId id="2147483891" r:id="rId27"/>
    <p:sldLayoutId id="2147483892" r:id="rId28"/>
    <p:sldLayoutId id="2147483893" r:id="rId29"/>
    <p:sldLayoutId id="2147483894" r:id="rId30"/>
    <p:sldLayoutId id="2147483895" r:id="rId31"/>
    <p:sldLayoutId id="2147483896" r:id="rId32"/>
    <p:sldLayoutId id="2147483897" r:id="rId33"/>
    <p:sldLayoutId id="2147483898" r:id="rId34"/>
    <p:sldLayoutId id="2147483899" r:id="rId35"/>
    <p:sldLayoutId id="2147483900" r:id="rId36"/>
    <p:sldLayoutId id="2147483901" r:id="rId37"/>
    <p:sldLayoutId id="2147483902" r:id="rId38"/>
    <p:sldLayoutId id="2147483903" r:id="rId39"/>
    <p:sldLayoutId id="2147483904" r:id="rId40"/>
    <p:sldLayoutId id="2147483905" r:id="rId41"/>
    <p:sldLayoutId id="2147483906" r:id="rId42"/>
    <p:sldLayoutId id="2147483907" r:id="rId43"/>
    <p:sldLayoutId id="2147483908" r:id="rId44"/>
    <p:sldLayoutId id="2147483909" r:id="rId45"/>
    <p:sldLayoutId id="2147483910" r:id="rId4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26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440000" indent="-180000" algn="l" defTabSz="914400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0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3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cenasiemens.cz@siemens.com" TargetMode="External"/><Relationship Id="rId2" Type="http://schemas.openxmlformats.org/officeDocument/2006/relationships/hyperlink" Target="http://www.cenasiemens.cz/" TargetMode="External"/><Relationship Id="rId1" Type="http://schemas.openxmlformats.org/officeDocument/2006/relationships/slideLayout" Target="../slideLayouts/slideLayout99.xml"/><Relationship Id="rId4" Type="http://schemas.openxmlformats.org/officeDocument/2006/relationships/hyperlink" Target="mailto:jaroslava.tomaskova@siemens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Obrázek 10">
            <a:extLst>
              <a:ext uri="{FF2B5EF4-FFF2-40B4-BE49-F238E27FC236}">
                <a16:creationId xmlns:a16="http://schemas.microsoft.com/office/drawing/2014/main" id="{133825E6-44DE-B3C5-D608-8D3EB4ED9C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0605" y="-156409"/>
            <a:ext cx="11730789" cy="7820526"/>
          </a:xfrm>
          <a:prstGeom prst="rect">
            <a:avLst/>
          </a:prstGeom>
        </p:spPr>
      </p:pic>
      <p:sp>
        <p:nvSpPr>
          <p:cNvPr id="7" name="TextovéPole 6">
            <a:extLst>
              <a:ext uri="{FF2B5EF4-FFF2-40B4-BE49-F238E27FC236}">
                <a16:creationId xmlns:a16="http://schemas.microsoft.com/office/drawing/2014/main" id="{129D7802-7806-668A-BD7F-3E93427FBED3}"/>
              </a:ext>
            </a:extLst>
          </p:cNvPr>
          <p:cNvSpPr txBox="1"/>
          <p:nvPr/>
        </p:nvSpPr>
        <p:spPr>
          <a:xfrm>
            <a:off x="410401" y="4762525"/>
            <a:ext cx="5145110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e-DE" sz="3600" dirty="0">
                <a:latin typeface="+mj-lt"/>
              </a:rPr>
              <a:t>Werner von Siemens</a:t>
            </a:r>
            <a:br>
              <a:rPr lang="de-DE" sz="3600" dirty="0">
                <a:latin typeface="+mj-lt"/>
              </a:rPr>
            </a:br>
            <a:r>
              <a:rPr lang="de-DE" sz="3600" dirty="0">
                <a:latin typeface="+mj-lt"/>
              </a:rPr>
              <a:t>Award </a:t>
            </a:r>
            <a:r>
              <a:rPr lang="cs-CZ" sz="3600" b="1" dirty="0">
                <a:solidFill>
                  <a:srgbClr val="00FFB9"/>
                </a:solidFill>
                <a:latin typeface="+mj-lt"/>
              </a:rPr>
              <a:t>202</a:t>
            </a:r>
            <a:r>
              <a:rPr lang="en-US" sz="3600" b="1" dirty="0">
                <a:solidFill>
                  <a:srgbClr val="00FFB9"/>
                </a:solidFill>
                <a:latin typeface="+mj-lt"/>
              </a:rPr>
              <a:t>4</a:t>
            </a:r>
            <a:endParaRPr lang="cs-CZ" sz="3600" b="1" dirty="0">
              <a:solidFill>
                <a:srgbClr val="00FFB9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998584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74220BBB-432A-494D-B5B6-FDBDF93EA35E}"/>
              </a:ext>
            </a:extLst>
          </p:cNvPr>
          <p:cNvSpPr txBox="1">
            <a:spLocks/>
          </p:cNvSpPr>
          <p:nvPr/>
        </p:nvSpPr>
        <p:spPr>
          <a:xfrm>
            <a:off x="410400" y="1207308"/>
            <a:ext cx="6768000" cy="4952860"/>
          </a:xfrm>
          <a:prstGeom prst="rect">
            <a:avLst/>
          </a:prstGeom>
          <a:solidFill>
            <a:srgbClr val="333353"/>
          </a:solidFill>
        </p:spPr>
        <p:txBody>
          <a:bodyPr vert="horz" lIns="432000" tIns="360000" rIns="432000" bIns="36000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700" dirty="0"/>
              <a:t>The competition focuses on students, teachers and young scientists. The aim is to award the authors of the best theses and research projects in technical and natural sciences.</a:t>
            </a:r>
          </a:p>
          <a:p>
            <a:endParaRPr lang="en-GB" sz="1700" dirty="0"/>
          </a:p>
          <a:p>
            <a:pPr lvl="1"/>
            <a:r>
              <a:rPr lang="en-GB" sz="1700" dirty="0"/>
              <a:t>The best works are chosen by independent juries composed of experts from leading Czech universities and the CAS</a:t>
            </a:r>
            <a:r>
              <a:rPr lang="cs-CZ" sz="1700" dirty="0"/>
              <a:t>.</a:t>
            </a:r>
            <a:endParaRPr lang="en-GB" sz="1700" dirty="0"/>
          </a:p>
          <a:p>
            <a:pPr lvl="1"/>
            <a:r>
              <a:rPr lang="en-GB" sz="1700" dirty="0"/>
              <a:t>The competition is organized under the auspices of the Ministry of Education, Youth and Sports</a:t>
            </a:r>
            <a:r>
              <a:rPr lang="en-US" sz="1700" dirty="0"/>
              <a:t>, the Ministry of Industry and Trade, the Council for Research, Development and Innovation, and the Prime Minister of the Czech Republic, Petr </a:t>
            </a:r>
            <a:r>
              <a:rPr lang="en-US" sz="1700" dirty="0" err="1"/>
              <a:t>Fiala</a:t>
            </a:r>
            <a:endParaRPr lang="en-GB" sz="1700" dirty="0"/>
          </a:p>
          <a:p>
            <a:pPr marL="0" lvl="1" indent="0">
              <a:buNone/>
            </a:pPr>
            <a:endParaRPr lang="cs-CZ" sz="1700" dirty="0"/>
          </a:p>
          <a:p>
            <a:pPr marL="0" lvl="1" indent="0">
              <a:buNone/>
            </a:pPr>
            <a:r>
              <a:rPr lang="en-US" sz="1700" dirty="0">
                <a:solidFill>
                  <a:schemeClr val="accent2"/>
                </a:solidFill>
              </a:rPr>
              <a:t>Deadline for submissions: November 3</a:t>
            </a:r>
            <a:r>
              <a:rPr lang="cs-CZ" sz="1700" dirty="0">
                <a:solidFill>
                  <a:schemeClr val="accent2"/>
                </a:solidFill>
              </a:rPr>
              <a:t>0</a:t>
            </a:r>
            <a:r>
              <a:rPr lang="en-US" sz="1700" dirty="0">
                <a:solidFill>
                  <a:schemeClr val="accent2"/>
                </a:solidFill>
              </a:rPr>
              <a:t>, 2024</a:t>
            </a:r>
            <a:br>
              <a:rPr lang="en-US" sz="1700" dirty="0">
                <a:solidFill>
                  <a:schemeClr val="accent2"/>
                </a:solidFill>
              </a:rPr>
            </a:br>
            <a:r>
              <a:rPr lang="en-US" sz="1700" dirty="0">
                <a:solidFill>
                  <a:schemeClr val="accent2"/>
                </a:solidFill>
              </a:rPr>
              <a:t>To apply, please visit </a:t>
            </a:r>
            <a:r>
              <a:rPr lang="en-US" sz="1700" b="1" dirty="0">
                <a:solidFill>
                  <a:schemeClr val="accent2"/>
                </a:solidFill>
              </a:rPr>
              <a:t>www.cenasiemens.cz</a:t>
            </a:r>
          </a:p>
          <a:p>
            <a:pPr marL="0" lvl="1" indent="0">
              <a:buNone/>
            </a:pPr>
            <a:endParaRPr lang="en-US" dirty="0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30916218-0FE7-DA40-850A-7231E8C46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>
                <a:solidFill>
                  <a:schemeClr val="accent2"/>
                </a:solidFill>
              </a:rPr>
              <a:t>Werner von Siemens </a:t>
            </a:r>
            <a:r>
              <a:rPr lang="cs-CZ" dirty="0" err="1">
                <a:solidFill>
                  <a:schemeClr val="accent2"/>
                </a:solidFill>
              </a:rPr>
              <a:t>Award</a:t>
            </a:r>
            <a:br>
              <a:rPr lang="en-US" dirty="0">
                <a:solidFill>
                  <a:schemeClr val="accent2"/>
                </a:solidFill>
              </a:rPr>
            </a:br>
            <a:r>
              <a:rPr lang="cs-CZ" b="0" dirty="0" err="1">
                <a:solidFill>
                  <a:schemeClr val="accent2"/>
                </a:solidFill>
              </a:rPr>
              <a:t>About</a:t>
            </a:r>
            <a:r>
              <a:rPr lang="cs-CZ" b="0" dirty="0">
                <a:solidFill>
                  <a:schemeClr val="accent2"/>
                </a:solidFill>
              </a:rPr>
              <a:t> </a:t>
            </a:r>
            <a:r>
              <a:rPr lang="cs-CZ" b="0" dirty="0" err="1">
                <a:solidFill>
                  <a:schemeClr val="accent2"/>
                </a:solidFill>
              </a:rPr>
              <a:t>competition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944935C-0A56-F643-B740-58DF1DF54D9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 err="1"/>
              <a:t>Unr</a:t>
            </a:r>
            <a:r>
              <a:rPr lang="en-US" dirty="0" err="1"/>
              <a:t>estricted</a:t>
            </a:r>
            <a:r>
              <a:rPr lang="en-US" dirty="0"/>
              <a:t> | © Siemens 20</a:t>
            </a:r>
            <a:r>
              <a:rPr lang="cs-CZ" dirty="0"/>
              <a:t>2</a:t>
            </a:r>
            <a:r>
              <a:rPr lang="en-US" dirty="0"/>
              <a:t>4 | </a:t>
            </a:r>
            <a:r>
              <a:rPr lang="cs-CZ" dirty="0"/>
              <a:t>Communications</a:t>
            </a:r>
            <a:r>
              <a:rPr lang="en-US" dirty="0"/>
              <a:t> | </a:t>
            </a:r>
            <a:r>
              <a:rPr lang="cs-CZ" dirty="0"/>
              <a:t>202</a:t>
            </a:r>
            <a:r>
              <a:rPr lang="en-US" dirty="0"/>
              <a:t>4-</a:t>
            </a:r>
            <a:r>
              <a:rPr lang="cs-CZ" dirty="0"/>
              <a:t>08</a:t>
            </a:r>
            <a:r>
              <a:rPr lang="en-US" dirty="0"/>
              <a:t>-22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7EA469E-CFF4-9C45-9AEE-0BE7E3565C9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8" name="Picture 7" descr="A person with a mustache and a beard&#10;&#10;Description automatically generated">
            <a:extLst>
              <a:ext uri="{FF2B5EF4-FFF2-40B4-BE49-F238E27FC236}">
                <a16:creationId xmlns:a16="http://schemas.microsoft.com/office/drawing/2014/main" id="{064BACEA-935F-1C51-46AD-64984941CEF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8400" y="2105025"/>
            <a:ext cx="5274228" cy="351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79506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Werner von Siemens Award in figures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 bwMode="gray">
          <a:xfrm>
            <a:off x="6095999" y="3840623"/>
            <a:ext cx="3598207" cy="2302261"/>
          </a:xfrm>
          <a:prstGeom prst="rect">
            <a:avLst/>
          </a:prstGeom>
          <a:solidFill>
            <a:srgbClr val="333353"/>
          </a:solidFill>
          <a:ln w="19050">
            <a:noFill/>
          </a:ln>
          <a:effectLst/>
        </p:spPr>
        <p:txBody>
          <a:bodyPr lIns="143925" tIns="143925" rIns="143925" bIns="143925" rtlCol="0" anchor="t" anchorCtr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ZK </a:t>
            </a: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0</a:t>
            </a: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0</a:t>
            </a: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</a:t>
            </a: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000 for this</a:t>
            </a:r>
            <a:r>
              <a:rPr lang="cs-CZ" sz="1799" b="1" dirty="0">
                <a:solidFill>
                  <a:schemeClr val="tx1"/>
                </a:solidFill>
                <a:latin typeface="Arial"/>
                <a:ea typeface="+mn-ea"/>
              </a:rPr>
              <a:t> </a:t>
            </a:r>
            <a:r>
              <a:rPr lang="cs-CZ" sz="1799" b="1" dirty="0" err="1">
                <a:solidFill>
                  <a:schemeClr val="tx1"/>
                </a:solidFill>
                <a:latin typeface="Arial"/>
                <a:ea typeface="+mn-ea"/>
              </a:rPr>
              <a:t>year's</a:t>
            </a:r>
            <a:r>
              <a:rPr lang="cs-CZ" sz="1799" b="1" dirty="0">
                <a:solidFill>
                  <a:schemeClr val="tx1"/>
                </a:solidFill>
                <a:latin typeface="Arial"/>
                <a:ea typeface="+mn-ea"/>
              </a:rPr>
              <a:t> </a:t>
            </a:r>
            <a:r>
              <a:rPr lang="cs-CZ" sz="1799" b="1" dirty="0" err="1">
                <a:solidFill>
                  <a:schemeClr val="tx1"/>
                </a:solidFill>
                <a:latin typeface="Arial"/>
                <a:ea typeface="+mn-ea"/>
              </a:rPr>
              <a:t>winners</a:t>
            </a:r>
            <a:endParaRPr kumimoji="0" lang="cs-CZ" sz="1799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799" b="1" dirty="0">
              <a:solidFill>
                <a:schemeClr val="tx1"/>
              </a:solidFill>
              <a:latin typeface="Arial"/>
              <a:ea typeface="+mn-ea"/>
            </a:endParaRP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his year, we will distribute CZK 1 </a:t>
            </a:r>
            <a:r>
              <a:rPr lang="en-US" sz="1799" dirty="0">
                <a:solidFill>
                  <a:schemeClr val="tx1"/>
                </a:solidFill>
                <a:latin typeface="Arial"/>
                <a:ea typeface="+mn-ea"/>
              </a:rPr>
              <a:t>0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0, 000 in eight categories.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US" sz="1799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echteck 4"/>
          <p:cNvSpPr>
            <a:spLocks/>
          </p:cNvSpPr>
          <p:nvPr/>
        </p:nvSpPr>
        <p:spPr bwMode="gray">
          <a:xfrm>
            <a:off x="6096000" y="1222716"/>
            <a:ext cx="3598207" cy="2302264"/>
          </a:xfrm>
          <a:prstGeom prst="rect">
            <a:avLst/>
          </a:prstGeom>
          <a:solidFill>
            <a:srgbClr val="00FFB9"/>
          </a:solidFill>
          <a:ln w="19050">
            <a:noFill/>
          </a:ln>
          <a:effectLst/>
        </p:spPr>
        <p:txBody>
          <a:bodyPr lIns="143925" tIns="143925" rIns="143925" bIns="143925" rtlCol="0" anchor="t" anchorCtr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r>
              <a:rPr lang="en-US" sz="1799" b="1" dirty="0">
                <a:solidFill>
                  <a:prstClr val="white"/>
                </a:solidFill>
                <a:latin typeface="Arial"/>
                <a:ea typeface="+mn-ea"/>
              </a:rPr>
              <a:t>70</a:t>
            </a: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awardees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799" b="1" dirty="0">
              <a:solidFill>
                <a:prstClr val="white"/>
              </a:solidFill>
              <a:latin typeface="Arial"/>
              <a:ea typeface="+mn-ea"/>
            </a:endParaRP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 far, we have awarded 470 students, teachers and scientists.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hteck 6"/>
          <p:cNvSpPr>
            <a:spLocks/>
          </p:cNvSpPr>
          <p:nvPr/>
        </p:nvSpPr>
        <p:spPr bwMode="gray">
          <a:xfrm>
            <a:off x="1744191" y="1199252"/>
            <a:ext cx="3598207" cy="2302261"/>
          </a:xfrm>
          <a:prstGeom prst="rect">
            <a:avLst/>
          </a:prstGeom>
          <a:solidFill>
            <a:srgbClr val="333353"/>
          </a:solidFill>
          <a:ln w="19050">
            <a:noFill/>
          </a:ln>
          <a:effectLst/>
        </p:spPr>
        <p:txBody>
          <a:bodyPr lIns="143925" tIns="143925" rIns="143925" bIns="143925" rtlCol="0" anchor="t" anchorCtr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lang="en-US" sz="1799" b="1" dirty="0">
                <a:solidFill>
                  <a:prstClr val="white"/>
                </a:solidFill>
                <a:latin typeface="Arial"/>
                <a:ea typeface="+mn-ea"/>
              </a:rPr>
              <a:t>7</a:t>
            </a:r>
            <a:r>
              <a:rPr kumimoji="0" lang="cs-CZ" sz="1799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years of the competition 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cs-CZ" sz="17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defTabSz="762000" eaLnBrk="0" fontAlgn="auto" hangingPunct="0">
              <a:spcBef>
                <a:spcPct val="0"/>
              </a:spcBef>
              <a:spcAft>
                <a:spcPts val="0"/>
              </a:spcAft>
              <a:defRPr/>
            </a:pP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nce 1998, we have been awarding talented students, inspirational teachers and enthusiastic scientists.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Rechteck 7"/>
          <p:cNvSpPr>
            <a:spLocks/>
          </p:cNvSpPr>
          <p:nvPr/>
        </p:nvSpPr>
        <p:spPr bwMode="gray">
          <a:xfrm>
            <a:off x="1744191" y="3840620"/>
            <a:ext cx="3598207" cy="2302264"/>
          </a:xfrm>
          <a:prstGeom prst="rect">
            <a:avLst/>
          </a:prstGeom>
          <a:solidFill>
            <a:srgbClr val="00FFB9"/>
          </a:solidFill>
          <a:ln w="19050">
            <a:noFill/>
          </a:ln>
          <a:effectLst/>
        </p:spPr>
        <p:txBody>
          <a:bodyPr lIns="143925" tIns="143925" rIns="143925" bIns="143925" rtlCol="0" anchor="t" anchorCtr="0"/>
          <a:lstStyle>
            <a:defPPr>
              <a:defRPr lang="de-DE"/>
            </a:defPPr>
            <a:lvl1pPr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50000"/>
              </a:spcBef>
              <a:spcAft>
                <a:spcPct val="0"/>
              </a:spcAft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bg2"/>
                </a:solidFill>
                <a:latin typeface="Arial" pitchFamily="34" charset="0"/>
                <a:ea typeface="ＭＳ Ｐゴシック" charset="-128"/>
                <a:cs typeface="+mn-cs"/>
              </a:defRPr>
            </a:lvl9pPr>
          </a:lstStyle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ZK 1</a:t>
            </a:r>
            <a:r>
              <a:rPr lang="en-US" sz="1799" b="1" dirty="0">
                <a:solidFill>
                  <a:schemeClr val="tx1"/>
                </a:solidFill>
                <a:latin typeface="Arial"/>
                <a:ea typeface="+mn-ea"/>
              </a:rPr>
              <a:t>6</a:t>
            </a: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, </a:t>
            </a:r>
            <a:r>
              <a:rPr kumimoji="0" lang="en-US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</a:t>
            </a: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cs-CZ" sz="1799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lion</a:t>
            </a: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cs-CZ" sz="1799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id</a:t>
            </a:r>
            <a:r>
              <a:rPr kumimoji="0" lang="cs-CZ" sz="1799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o </a:t>
            </a:r>
            <a:r>
              <a:rPr kumimoji="0" lang="cs-CZ" sz="1799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inners</a:t>
            </a:r>
            <a:endParaRPr kumimoji="0" lang="cs-CZ" sz="1799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cs-CZ" sz="1799" b="1" dirty="0">
              <a:solidFill>
                <a:schemeClr val="tx1"/>
              </a:solidFill>
              <a:latin typeface="Arial"/>
              <a:ea typeface="+mn-ea"/>
            </a:endParaRP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e have distributed CZK </a:t>
            </a:r>
            <a:b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6</a:t>
            </a:r>
            <a:r>
              <a:rPr lang="en-US" sz="1799" dirty="0">
                <a:solidFill>
                  <a:schemeClr val="tx1"/>
                </a:solidFill>
                <a:latin typeface="Arial"/>
                <a:ea typeface="+mn-ea"/>
              </a:rPr>
              <a:t> 4</a:t>
            </a:r>
            <a:r>
              <a:rPr kumimoji="0" lang="en-US" sz="1799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0, 000 among the winners so far.</a:t>
            </a:r>
          </a:p>
          <a:p>
            <a:pPr marL="0" marR="0" lvl="0" indent="0" algn="l" defTabSz="762000" rtl="0" eaLnBrk="0" fontAlgn="auto" latinLnBrk="0" hangingPunct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879296-D06B-49DA-AD32-BBF8B8B524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 err="1"/>
              <a:t>Unr</a:t>
            </a:r>
            <a:r>
              <a:rPr lang="en-US" dirty="0" err="1"/>
              <a:t>estricted</a:t>
            </a:r>
            <a:r>
              <a:rPr lang="en-US" dirty="0"/>
              <a:t> | © Siemens 20</a:t>
            </a:r>
            <a:r>
              <a:rPr lang="cs-CZ" dirty="0"/>
              <a:t>2</a:t>
            </a:r>
            <a:r>
              <a:rPr lang="en-US" dirty="0"/>
              <a:t>4 | </a:t>
            </a:r>
            <a:r>
              <a:rPr lang="cs-CZ" dirty="0"/>
              <a:t>Communications</a:t>
            </a:r>
            <a:r>
              <a:rPr lang="en-US" dirty="0"/>
              <a:t> | </a:t>
            </a:r>
            <a:r>
              <a:rPr lang="cs-CZ" dirty="0"/>
              <a:t>202</a:t>
            </a:r>
            <a:r>
              <a:rPr lang="en-US" dirty="0"/>
              <a:t>4-</a:t>
            </a:r>
            <a:r>
              <a:rPr lang="cs-CZ" dirty="0"/>
              <a:t>08</a:t>
            </a:r>
            <a:r>
              <a:rPr lang="en-US" dirty="0"/>
              <a:t>-22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FFBD17-1F63-44AC-A894-3BDBC942A1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2650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err="1">
                <a:solidFill>
                  <a:schemeClr val="accent2"/>
                </a:solidFill>
              </a:rPr>
              <a:t>Categories</a:t>
            </a:r>
            <a:r>
              <a:rPr lang="cs-CZ" dirty="0">
                <a:solidFill>
                  <a:schemeClr val="accent2"/>
                </a:solidFill>
              </a:rPr>
              <a:t> and </a:t>
            </a:r>
            <a:r>
              <a:rPr lang="en-US" dirty="0">
                <a:solidFill>
                  <a:schemeClr val="accent2"/>
                </a:solidFill>
              </a:rPr>
              <a:t>Prizes</a:t>
            </a:r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410400" y="1415849"/>
            <a:ext cx="3600000" cy="1487549"/>
          </a:xfrm>
          <a:prstGeom prst="rect">
            <a:avLst/>
          </a:prstGeom>
          <a:solidFill>
            <a:srgbClr val="00646E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The best diploma thesis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CZK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55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,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00 +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CZK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55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,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00   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CZK </a:t>
            </a:r>
            <a:r>
              <a:rPr lang="cs-CZ" sz="1599" dirty="0">
                <a:solidFill>
                  <a:prstClr val="white"/>
                </a:solidFill>
                <a:latin typeface="Arial"/>
                <a:ea typeface="Arial Unicode MS"/>
              </a:rPr>
              <a:t>40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,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00 +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CZK </a:t>
            </a:r>
            <a:r>
              <a:rPr lang="cs-CZ" sz="1599" dirty="0">
                <a:solidFill>
                  <a:prstClr val="white"/>
                </a:solidFill>
                <a:latin typeface="Arial"/>
                <a:ea typeface="Arial Unicode MS"/>
              </a:rPr>
              <a:t>40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,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00 </a:t>
            </a:r>
            <a:endParaRPr kumimoji="0" lang="cs-CZ" sz="159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CZK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25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,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00 +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CZK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25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,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00  </a:t>
            </a: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7EF22DC3-960D-2649-BDA7-BB8AC72957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8400" y="1415849"/>
            <a:ext cx="3600000" cy="1487549"/>
          </a:xfrm>
          <a:prstGeom prst="rect">
            <a:avLst/>
          </a:prstGeom>
          <a:solidFill>
            <a:srgbClr val="00FFB9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The best dissertation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CZK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7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,000 + CZK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7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,000 </a:t>
            </a:r>
            <a:endParaRPr kumimoji="0" lang="en-US" sz="1599" b="0" i="0" u="none" strike="noStrike" kern="1200" cap="none" spc="0" normalizeH="0" baseline="0" noProof="0" dirty="0">
              <a:ln>
                <a:noFill/>
              </a:ln>
              <a:solidFill>
                <a:srgbClr val="000028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CZK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4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,000 + CZK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4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,000 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CZK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3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,000 + CZK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3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,000 </a:t>
            </a: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8AC91AB4-850D-AC49-AEB0-58A15F3F2E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6400" y="1415849"/>
            <a:ext cx="3600000" cy="1487549"/>
          </a:xfrm>
          <a:prstGeom prst="rect">
            <a:avLst/>
          </a:prstGeom>
          <a:solidFill>
            <a:srgbClr val="00FFB9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The best result of basic research</a:t>
            </a:r>
            <a:endParaRPr kumimoji="0" lang="cs-CZ" sz="1599" b="1" i="0" u="none" strike="noStrike" kern="1200" cap="none" spc="0" normalizeH="0" baseline="0" noProof="0" dirty="0">
              <a:ln>
                <a:noFill/>
              </a:ln>
              <a:solidFill>
                <a:srgbClr val="000028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CZK 300,000 (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individual or team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srgbClr val="000028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)</a:t>
            </a:r>
            <a:endParaRPr kumimoji="0" lang="en-US" sz="1599" b="0" i="0" u="none" strike="noStrike" kern="1200" cap="none" spc="0" normalizeH="0" baseline="0" noProof="0" dirty="0">
              <a:ln>
                <a:noFill/>
              </a:ln>
              <a:solidFill>
                <a:srgbClr val="000028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7B68E5D0-E3BE-DE47-81D0-4056CD7846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400" y="3042633"/>
            <a:ext cx="3600000" cy="1487549"/>
          </a:xfrm>
          <a:prstGeom prst="rect">
            <a:avLst/>
          </a:prstGeom>
          <a:solidFill>
            <a:srgbClr val="333353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464B"/>
              </a:buClr>
              <a:buSzTx/>
              <a:buFontTx/>
              <a:buNone/>
              <a:tabLst/>
              <a:defRPr/>
            </a:pPr>
            <a:r>
              <a:rPr kumimoji="0" lang="en-US" sz="1599" b="1" i="0" u="none" strike="noStrike" kern="1200" cap="none" spc="0" normalizeH="0" baseline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The best pedagogue  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CZK 50,000</a:t>
            </a:r>
            <a:endParaRPr kumimoji="0" lang="en-US" sz="1599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821058D5-B93F-3240-8C59-8144A73045A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98400" y="4676717"/>
            <a:ext cx="3600000" cy="1487549"/>
          </a:xfrm>
          <a:prstGeom prst="rect">
            <a:avLst/>
          </a:prstGeom>
          <a:solidFill>
            <a:srgbClr val="00646E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Outstanding quality of women's scientific work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ZK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0,000 </a:t>
            </a:r>
            <a:endParaRPr kumimoji="0" lang="en-US" sz="159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BFD7F8E1-4B70-4341-9CEE-B4C86B9877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400" y="4678557"/>
            <a:ext cx="3600000" cy="1487549"/>
          </a:xfrm>
          <a:prstGeom prst="rect">
            <a:avLst/>
          </a:prstGeom>
          <a:solidFill>
            <a:srgbClr val="66667E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Diploma thesis/dissertation on the topic of Industry 4.0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CZK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3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0,000 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cs-CZ" sz="1599" dirty="0">
                <a:solidFill>
                  <a:prstClr val="white"/>
                </a:solidFill>
                <a:latin typeface="Arial"/>
                <a:ea typeface="Arial Unicode MS"/>
              </a:rPr>
              <a:t>CZK 20,000</a:t>
            </a:r>
            <a:endParaRPr kumimoji="0" lang="en-US" sz="159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35" name="Rectangle 3">
            <a:extLst>
              <a:ext uri="{FF2B5EF4-FFF2-40B4-BE49-F238E27FC236}">
                <a16:creationId xmlns:a16="http://schemas.microsoft.com/office/drawing/2014/main" id="{CD6F5D9C-4471-8A4D-A383-A9C05633E5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1600" y="4684016"/>
            <a:ext cx="3600000" cy="1487549"/>
          </a:xfrm>
          <a:prstGeom prst="rect">
            <a:avLst/>
          </a:prstGeom>
          <a:solidFill>
            <a:srgbClr val="333353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C464B"/>
              </a:buClr>
              <a:buSzTx/>
              <a:buFontTx/>
              <a:buNone/>
              <a:tabLst/>
              <a:defRPr/>
            </a:pPr>
            <a:r>
              <a:rPr kumimoji="0" lang="en-US" sz="1599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Diploma thesis/dissertation on the topic of Smart Infrastructure and Energy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CZK </a:t>
            </a:r>
            <a:r>
              <a:rPr kumimoji="0" lang="en-US" sz="15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3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Arial Unicode MS"/>
                <a:cs typeface="+mn-cs"/>
              </a:rPr>
              <a:t>0,000 </a:t>
            </a:r>
          </a:p>
          <a:p>
            <a:pPr marL="179910" indent="-179910">
              <a:spcBef>
                <a:spcPts val="300"/>
              </a:spcBef>
              <a:buSzPct val="100000"/>
              <a:buFont typeface="Arial" panose="020B0604020202020204" pitchFamily="34" charset="0"/>
              <a:buChar char="•"/>
              <a:defRPr/>
            </a:pPr>
            <a:r>
              <a:rPr lang="cs-CZ" sz="1599" dirty="0">
                <a:solidFill>
                  <a:prstClr val="white"/>
                </a:solidFill>
                <a:latin typeface="Arial"/>
                <a:ea typeface="Arial Unicode MS"/>
              </a:rPr>
              <a:t>CZK 20,000</a:t>
            </a:r>
            <a:endParaRPr kumimoji="0" lang="en-US" sz="15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599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36" name="Rectangle 3">
            <a:extLst>
              <a:ext uri="{FF2B5EF4-FFF2-40B4-BE49-F238E27FC236}">
                <a16:creationId xmlns:a16="http://schemas.microsoft.com/office/drawing/2014/main" id="{9758AE74-9C65-5A44-8807-4F8F30984CA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81600" y="3042632"/>
            <a:ext cx="3600000" cy="1487549"/>
          </a:xfrm>
          <a:prstGeom prst="rect">
            <a:avLst/>
          </a:prstGeom>
          <a:solidFill>
            <a:srgbClr val="00646E"/>
          </a:solidFill>
          <a:ln w="19050">
            <a:noFill/>
          </a:ln>
          <a:effectLst/>
        </p:spPr>
        <p:txBody>
          <a:bodyPr lIns="107944" tIns="71963" rIns="107944" bIns="71963" rtlCol="0" anchor="t" anchorCtr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599" b="1" i="0" u="none" strike="noStrike" kern="1200" cap="none" spc="0" normalizeH="0" baseline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Reward for recommending the winner</a:t>
            </a:r>
          </a:p>
          <a:p>
            <a:pPr marL="179910" marR="0" lvl="0" indent="-17991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lang="cs-CZ" sz="1599" dirty="0">
                <a:solidFill>
                  <a:prstClr val="white"/>
                </a:solidFill>
                <a:latin typeface="Arial"/>
                <a:ea typeface="Arial Unicode MS"/>
              </a:rPr>
              <a:t>CZK </a:t>
            </a:r>
            <a:r>
              <a:rPr kumimoji="0" lang="cs-CZ" sz="15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10,000 </a:t>
            </a:r>
            <a:endParaRPr kumimoji="0" lang="en-US" sz="159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C668346-BE0B-4983-9BAE-28C7AC3506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 err="1"/>
              <a:t>Unr</a:t>
            </a:r>
            <a:r>
              <a:rPr lang="en-US" dirty="0" err="1"/>
              <a:t>estricted</a:t>
            </a:r>
            <a:r>
              <a:rPr lang="en-US" dirty="0"/>
              <a:t> | © Siemens 20</a:t>
            </a:r>
            <a:r>
              <a:rPr lang="cs-CZ" dirty="0"/>
              <a:t>2</a:t>
            </a:r>
            <a:r>
              <a:rPr lang="en-US" dirty="0"/>
              <a:t>4 | </a:t>
            </a:r>
            <a:r>
              <a:rPr lang="cs-CZ" dirty="0"/>
              <a:t>Communications</a:t>
            </a:r>
            <a:r>
              <a:rPr lang="en-US" dirty="0"/>
              <a:t> | </a:t>
            </a:r>
            <a:r>
              <a:rPr lang="cs-CZ" dirty="0"/>
              <a:t>202</a:t>
            </a:r>
            <a:r>
              <a:rPr lang="en-US" dirty="0"/>
              <a:t>4-</a:t>
            </a:r>
            <a:r>
              <a:rPr lang="cs-CZ" dirty="0"/>
              <a:t>08</a:t>
            </a:r>
            <a:r>
              <a:rPr lang="en-US" dirty="0"/>
              <a:t>-22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D812850-E642-4F03-8BE0-39A03B71323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5" name="Picture 4" descr="A person with a mustache and a beard&#10;&#10;Description automatically generated">
            <a:extLst>
              <a:ext uri="{FF2B5EF4-FFF2-40B4-BE49-F238E27FC236}">
                <a16:creationId xmlns:a16="http://schemas.microsoft.com/office/drawing/2014/main" id="{CC49B789-E12D-661F-5AEB-34BCA2509B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9701" y="2816368"/>
            <a:ext cx="3832598" cy="2554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9524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Freeform 14">
            <a:extLst>
              <a:ext uri="{FF2B5EF4-FFF2-40B4-BE49-F238E27FC236}">
                <a16:creationId xmlns:a16="http://schemas.microsoft.com/office/drawing/2014/main" id="{CAE3F164-440A-3949-BCFB-A5EBB4F6C167}"/>
              </a:ext>
            </a:extLst>
          </p:cNvPr>
          <p:cNvSpPr/>
          <p:nvPr/>
        </p:nvSpPr>
        <p:spPr bwMode="auto">
          <a:xfrm>
            <a:off x="410400" y="2204659"/>
            <a:ext cx="11376788" cy="3963490"/>
          </a:xfrm>
          <a:custGeom>
            <a:avLst/>
            <a:gdLst>
              <a:gd name="connsiteX0" fmla="*/ 194793 w 9996715"/>
              <a:gd name="connsiteY0" fmla="*/ 4427034 h 4427034"/>
              <a:gd name="connsiteX1" fmla="*/ 1254159 w 9996715"/>
              <a:gd name="connsiteY1" fmla="*/ 3401122 h 4427034"/>
              <a:gd name="connsiteX2" fmla="*/ 9662178 w 9996715"/>
              <a:gd name="connsiteY2" fmla="*/ 1059365 h 4427034"/>
              <a:gd name="connsiteX3" fmla="*/ 8290578 w 9996715"/>
              <a:gd name="connsiteY3" fmla="*/ 356839 h 4427034"/>
              <a:gd name="connsiteX4" fmla="*/ 9996715 w 9996715"/>
              <a:gd name="connsiteY4" fmla="*/ 0 h 4427034"/>
              <a:gd name="connsiteX5" fmla="*/ 9996715 w 9996715"/>
              <a:gd name="connsiteY5" fmla="*/ 0 h 4427034"/>
              <a:gd name="connsiteX0" fmla="*/ 180894 w 9982816"/>
              <a:gd name="connsiteY0" fmla="*/ 4427034 h 4427034"/>
              <a:gd name="connsiteX1" fmla="*/ 1240260 w 9982816"/>
              <a:gd name="connsiteY1" fmla="*/ 3401122 h 4427034"/>
              <a:gd name="connsiteX2" fmla="*/ 9324894 w 9982816"/>
              <a:gd name="connsiteY2" fmla="*/ 1326994 h 4427034"/>
              <a:gd name="connsiteX3" fmla="*/ 8276679 w 9982816"/>
              <a:gd name="connsiteY3" fmla="*/ 356839 h 4427034"/>
              <a:gd name="connsiteX4" fmla="*/ 9982816 w 9982816"/>
              <a:gd name="connsiteY4" fmla="*/ 0 h 4427034"/>
              <a:gd name="connsiteX5" fmla="*/ 9982816 w 9982816"/>
              <a:gd name="connsiteY5" fmla="*/ 0 h 4427034"/>
              <a:gd name="connsiteX0" fmla="*/ 180894 w 9982816"/>
              <a:gd name="connsiteY0" fmla="*/ 4427034 h 4427034"/>
              <a:gd name="connsiteX1" fmla="*/ 1240260 w 9982816"/>
              <a:gd name="connsiteY1" fmla="*/ 3401122 h 4427034"/>
              <a:gd name="connsiteX2" fmla="*/ 9324894 w 9982816"/>
              <a:gd name="connsiteY2" fmla="*/ 1326994 h 4427034"/>
              <a:gd name="connsiteX3" fmla="*/ 8276679 w 9982816"/>
              <a:gd name="connsiteY3" fmla="*/ 356839 h 4427034"/>
              <a:gd name="connsiteX4" fmla="*/ 9982816 w 9982816"/>
              <a:gd name="connsiteY4" fmla="*/ 0 h 4427034"/>
              <a:gd name="connsiteX5" fmla="*/ 9982816 w 9982816"/>
              <a:gd name="connsiteY5" fmla="*/ 0 h 4427034"/>
              <a:gd name="connsiteX0" fmla="*/ 181829 w 9983751"/>
              <a:gd name="connsiteY0" fmla="*/ 4427034 h 4427034"/>
              <a:gd name="connsiteX1" fmla="*/ 1241195 w 9983751"/>
              <a:gd name="connsiteY1" fmla="*/ 3401122 h 4427034"/>
              <a:gd name="connsiteX2" fmla="*/ 9348132 w 9983751"/>
              <a:gd name="connsiteY2" fmla="*/ 1349297 h 4427034"/>
              <a:gd name="connsiteX3" fmla="*/ 8277614 w 9983751"/>
              <a:gd name="connsiteY3" fmla="*/ 356839 h 4427034"/>
              <a:gd name="connsiteX4" fmla="*/ 9983751 w 9983751"/>
              <a:gd name="connsiteY4" fmla="*/ 0 h 4427034"/>
              <a:gd name="connsiteX5" fmla="*/ 9983751 w 9983751"/>
              <a:gd name="connsiteY5" fmla="*/ 0 h 4427034"/>
              <a:gd name="connsiteX0" fmla="*/ 181829 w 9983751"/>
              <a:gd name="connsiteY0" fmla="*/ 4427034 h 4427034"/>
              <a:gd name="connsiteX1" fmla="*/ 1241195 w 9983751"/>
              <a:gd name="connsiteY1" fmla="*/ 3401122 h 4427034"/>
              <a:gd name="connsiteX2" fmla="*/ 9348132 w 9983751"/>
              <a:gd name="connsiteY2" fmla="*/ 1349297 h 4427034"/>
              <a:gd name="connsiteX3" fmla="*/ 8277614 w 9983751"/>
              <a:gd name="connsiteY3" fmla="*/ 356839 h 4427034"/>
              <a:gd name="connsiteX4" fmla="*/ 9983751 w 9983751"/>
              <a:gd name="connsiteY4" fmla="*/ 0 h 4427034"/>
              <a:gd name="connsiteX5" fmla="*/ 9983751 w 9983751"/>
              <a:gd name="connsiteY5" fmla="*/ 0 h 4427034"/>
              <a:gd name="connsiteX0" fmla="*/ 176725 w 9978647"/>
              <a:gd name="connsiteY0" fmla="*/ 4427034 h 4427034"/>
              <a:gd name="connsiteX1" fmla="*/ 1236091 w 9978647"/>
              <a:gd name="connsiteY1" fmla="*/ 3401122 h 4427034"/>
              <a:gd name="connsiteX2" fmla="*/ 9220365 w 9978647"/>
              <a:gd name="connsiteY2" fmla="*/ 1282390 h 4427034"/>
              <a:gd name="connsiteX3" fmla="*/ 8272510 w 9978647"/>
              <a:gd name="connsiteY3" fmla="*/ 356839 h 4427034"/>
              <a:gd name="connsiteX4" fmla="*/ 9978647 w 9978647"/>
              <a:gd name="connsiteY4" fmla="*/ 0 h 4427034"/>
              <a:gd name="connsiteX5" fmla="*/ 9978647 w 9978647"/>
              <a:gd name="connsiteY5" fmla="*/ 0 h 4427034"/>
              <a:gd name="connsiteX0" fmla="*/ 37826 w 9839748"/>
              <a:gd name="connsiteY0" fmla="*/ 4427034 h 4427034"/>
              <a:gd name="connsiteX1" fmla="*/ 2390733 w 9839748"/>
              <a:gd name="connsiteY1" fmla="*/ 2910468 h 4427034"/>
              <a:gd name="connsiteX2" fmla="*/ 9081466 w 9839748"/>
              <a:gd name="connsiteY2" fmla="*/ 1282390 h 4427034"/>
              <a:gd name="connsiteX3" fmla="*/ 8133611 w 9839748"/>
              <a:gd name="connsiteY3" fmla="*/ 356839 h 4427034"/>
              <a:gd name="connsiteX4" fmla="*/ 9839748 w 9839748"/>
              <a:gd name="connsiteY4" fmla="*/ 0 h 4427034"/>
              <a:gd name="connsiteX5" fmla="*/ 9839748 w 9839748"/>
              <a:gd name="connsiteY5" fmla="*/ 0 h 4427034"/>
              <a:gd name="connsiteX0" fmla="*/ 68432 w 9870354"/>
              <a:gd name="connsiteY0" fmla="*/ 4427034 h 4427034"/>
              <a:gd name="connsiteX1" fmla="*/ 2421339 w 9870354"/>
              <a:gd name="connsiteY1" fmla="*/ 2910468 h 4427034"/>
              <a:gd name="connsiteX2" fmla="*/ 9112072 w 9870354"/>
              <a:gd name="connsiteY2" fmla="*/ 1282390 h 4427034"/>
              <a:gd name="connsiteX3" fmla="*/ 8164217 w 9870354"/>
              <a:gd name="connsiteY3" fmla="*/ 356839 h 4427034"/>
              <a:gd name="connsiteX4" fmla="*/ 9870354 w 9870354"/>
              <a:gd name="connsiteY4" fmla="*/ 0 h 4427034"/>
              <a:gd name="connsiteX5" fmla="*/ 9870354 w 9870354"/>
              <a:gd name="connsiteY5" fmla="*/ 0 h 4427034"/>
              <a:gd name="connsiteX0" fmla="*/ 38570 w 9840492"/>
              <a:gd name="connsiteY0" fmla="*/ 4427034 h 4427034"/>
              <a:gd name="connsiteX1" fmla="*/ 2391477 w 9840492"/>
              <a:gd name="connsiteY1" fmla="*/ 2910468 h 4427034"/>
              <a:gd name="connsiteX2" fmla="*/ 9249478 w 9840492"/>
              <a:gd name="connsiteY2" fmla="*/ 1237785 h 4427034"/>
              <a:gd name="connsiteX3" fmla="*/ 8134355 w 9840492"/>
              <a:gd name="connsiteY3" fmla="*/ 356839 h 4427034"/>
              <a:gd name="connsiteX4" fmla="*/ 9840492 w 9840492"/>
              <a:gd name="connsiteY4" fmla="*/ 0 h 4427034"/>
              <a:gd name="connsiteX5" fmla="*/ 9840492 w 9840492"/>
              <a:gd name="connsiteY5" fmla="*/ 0 h 4427034"/>
              <a:gd name="connsiteX0" fmla="*/ 38570 w 9840492"/>
              <a:gd name="connsiteY0" fmla="*/ 4427034 h 4427034"/>
              <a:gd name="connsiteX1" fmla="*/ 2391477 w 9840492"/>
              <a:gd name="connsiteY1" fmla="*/ 2910468 h 4427034"/>
              <a:gd name="connsiteX2" fmla="*/ 9249478 w 9840492"/>
              <a:gd name="connsiteY2" fmla="*/ 1237785 h 4427034"/>
              <a:gd name="connsiteX3" fmla="*/ 8134355 w 9840492"/>
              <a:gd name="connsiteY3" fmla="*/ 356839 h 4427034"/>
              <a:gd name="connsiteX4" fmla="*/ 9840492 w 9840492"/>
              <a:gd name="connsiteY4" fmla="*/ 0 h 4427034"/>
              <a:gd name="connsiteX5" fmla="*/ 9840492 w 9840492"/>
              <a:gd name="connsiteY5" fmla="*/ 0 h 4427034"/>
              <a:gd name="connsiteX0" fmla="*/ 38269 w 9840191"/>
              <a:gd name="connsiteY0" fmla="*/ 4427034 h 4427034"/>
              <a:gd name="connsiteX1" fmla="*/ 2391176 w 9840191"/>
              <a:gd name="connsiteY1" fmla="*/ 2910468 h 4427034"/>
              <a:gd name="connsiteX2" fmla="*/ 9182269 w 9840191"/>
              <a:gd name="connsiteY2" fmla="*/ 1215483 h 4427034"/>
              <a:gd name="connsiteX3" fmla="*/ 8134054 w 9840191"/>
              <a:gd name="connsiteY3" fmla="*/ 356839 h 4427034"/>
              <a:gd name="connsiteX4" fmla="*/ 9840191 w 9840191"/>
              <a:gd name="connsiteY4" fmla="*/ 0 h 4427034"/>
              <a:gd name="connsiteX5" fmla="*/ 9840191 w 9840191"/>
              <a:gd name="connsiteY5" fmla="*/ 0 h 4427034"/>
              <a:gd name="connsiteX0" fmla="*/ 0 w 9801922"/>
              <a:gd name="connsiteY0" fmla="*/ 4427034 h 4427034"/>
              <a:gd name="connsiteX1" fmla="*/ 2352907 w 9801922"/>
              <a:gd name="connsiteY1" fmla="*/ 2910468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352907 w 9801922"/>
              <a:gd name="connsiteY1" fmla="*/ 2910468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352907 w 9801922"/>
              <a:gd name="connsiteY1" fmla="*/ 2910468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144000 w 9801922"/>
              <a:gd name="connsiteY2" fmla="*/ 1215483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088244 w 9801922"/>
              <a:gd name="connsiteY2" fmla="*/ 1237785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088244 w 9801922"/>
              <a:gd name="connsiteY2" fmla="*/ 1237785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088244 w 9801922"/>
              <a:gd name="connsiteY2" fmla="*/ 1237785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054790 w 9801922"/>
              <a:gd name="connsiteY2" fmla="*/ 1271239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054790 w 9801922"/>
              <a:gd name="connsiteY2" fmla="*/ 1271239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5" fmla="*/ 9801922 w 9801922"/>
              <a:gd name="connsiteY5" fmla="*/ 0 h 4427034"/>
              <a:gd name="connsiteX0" fmla="*/ 0 w 9991493"/>
              <a:gd name="connsiteY0" fmla="*/ 4427045 h 4427045"/>
              <a:gd name="connsiteX1" fmla="*/ 2520175 w 9991493"/>
              <a:gd name="connsiteY1" fmla="*/ 2854723 h 4427045"/>
              <a:gd name="connsiteX2" fmla="*/ 9054790 w 9991493"/>
              <a:gd name="connsiteY2" fmla="*/ 1271250 h 4427045"/>
              <a:gd name="connsiteX3" fmla="*/ 8095785 w 9991493"/>
              <a:gd name="connsiteY3" fmla="*/ 356850 h 4427045"/>
              <a:gd name="connsiteX4" fmla="*/ 9801922 w 9991493"/>
              <a:gd name="connsiteY4" fmla="*/ 11 h 4427045"/>
              <a:gd name="connsiteX5" fmla="*/ 9991493 w 9991493"/>
              <a:gd name="connsiteY5" fmla="*/ 345699 h 4427045"/>
              <a:gd name="connsiteX0" fmla="*/ 0 w 9801922"/>
              <a:gd name="connsiteY0" fmla="*/ 4427034 h 4427034"/>
              <a:gd name="connsiteX1" fmla="*/ 2520175 w 9801922"/>
              <a:gd name="connsiteY1" fmla="*/ 2854712 h 4427034"/>
              <a:gd name="connsiteX2" fmla="*/ 9054790 w 9801922"/>
              <a:gd name="connsiteY2" fmla="*/ 1271239 h 4427034"/>
              <a:gd name="connsiteX3" fmla="*/ 8095785 w 9801922"/>
              <a:gd name="connsiteY3" fmla="*/ 356839 h 4427034"/>
              <a:gd name="connsiteX4" fmla="*/ 9801922 w 9801922"/>
              <a:gd name="connsiteY4" fmla="*/ 0 h 4427034"/>
              <a:gd name="connsiteX0" fmla="*/ 0 w 9801922"/>
              <a:gd name="connsiteY0" fmla="*/ 4449337 h 4449337"/>
              <a:gd name="connsiteX1" fmla="*/ 2520175 w 9801922"/>
              <a:gd name="connsiteY1" fmla="*/ 2877015 h 4449337"/>
              <a:gd name="connsiteX2" fmla="*/ 9054790 w 9801922"/>
              <a:gd name="connsiteY2" fmla="*/ 1293542 h 4449337"/>
              <a:gd name="connsiteX3" fmla="*/ 8095785 w 9801922"/>
              <a:gd name="connsiteY3" fmla="*/ 379142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520175 w 9801922"/>
              <a:gd name="connsiteY1" fmla="*/ 2877015 h 4449337"/>
              <a:gd name="connsiteX2" fmla="*/ 9054790 w 9801922"/>
              <a:gd name="connsiteY2" fmla="*/ 1293542 h 4449337"/>
              <a:gd name="connsiteX3" fmla="*/ 8095785 w 9801922"/>
              <a:gd name="connsiteY3" fmla="*/ 379142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520175 w 9801922"/>
              <a:gd name="connsiteY1" fmla="*/ 2877015 h 4449337"/>
              <a:gd name="connsiteX2" fmla="*/ 9054790 w 9801922"/>
              <a:gd name="connsiteY2" fmla="*/ 1293542 h 4449337"/>
              <a:gd name="connsiteX3" fmla="*/ 8106936 w 9801922"/>
              <a:gd name="connsiteY3" fmla="*/ 390293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520175 w 9801922"/>
              <a:gd name="connsiteY1" fmla="*/ 2877015 h 4449337"/>
              <a:gd name="connsiteX2" fmla="*/ 9054790 w 9801922"/>
              <a:gd name="connsiteY2" fmla="*/ 1293542 h 4449337"/>
              <a:gd name="connsiteX3" fmla="*/ 8106936 w 9801922"/>
              <a:gd name="connsiteY3" fmla="*/ 390293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520175 w 9801922"/>
              <a:gd name="connsiteY1" fmla="*/ 2877015 h 4449337"/>
              <a:gd name="connsiteX2" fmla="*/ 8987883 w 9801922"/>
              <a:gd name="connsiteY2" fmla="*/ 1293542 h 4449337"/>
              <a:gd name="connsiteX3" fmla="*/ 8106936 w 9801922"/>
              <a:gd name="connsiteY3" fmla="*/ 390293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520175 w 9801922"/>
              <a:gd name="connsiteY1" fmla="*/ 2877015 h 4449337"/>
              <a:gd name="connsiteX2" fmla="*/ 8987883 w 9801922"/>
              <a:gd name="connsiteY2" fmla="*/ 1293542 h 4449337"/>
              <a:gd name="connsiteX3" fmla="*/ 8106936 w 9801922"/>
              <a:gd name="connsiteY3" fmla="*/ 390293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143982 w 9801922"/>
              <a:gd name="connsiteY1" fmla="*/ 2672521 h 4449337"/>
              <a:gd name="connsiteX2" fmla="*/ 8987883 w 9801922"/>
              <a:gd name="connsiteY2" fmla="*/ 1293542 h 4449337"/>
              <a:gd name="connsiteX3" fmla="*/ 8106936 w 9801922"/>
              <a:gd name="connsiteY3" fmla="*/ 390293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143982 w 9801922"/>
              <a:gd name="connsiteY1" fmla="*/ 2672521 h 4449337"/>
              <a:gd name="connsiteX2" fmla="*/ 8327004 w 9801922"/>
              <a:gd name="connsiteY2" fmla="*/ 1551851 h 4449337"/>
              <a:gd name="connsiteX3" fmla="*/ 8106936 w 9801922"/>
              <a:gd name="connsiteY3" fmla="*/ 390293 h 4449337"/>
              <a:gd name="connsiteX4" fmla="*/ 9801922 w 9801922"/>
              <a:gd name="connsiteY4" fmla="*/ 0 h 4449337"/>
              <a:gd name="connsiteX0" fmla="*/ 0 w 9801922"/>
              <a:gd name="connsiteY0" fmla="*/ 4449337 h 4449337"/>
              <a:gd name="connsiteX1" fmla="*/ 2143982 w 9801922"/>
              <a:gd name="connsiteY1" fmla="*/ 2672521 h 4449337"/>
              <a:gd name="connsiteX2" fmla="*/ 8327004 w 9801922"/>
              <a:gd name="connsiteY2" fmla="*/ 1551851 h 4449337"/>
              <a:gd name="connsiteX3" fmla="*/ 8035765 w 9801922"/>
              <a:gd name="connsiteY3" fmla="*/ 863860 h 4449337"/>
              <a:gd name="connsiteX4" fmla="*/ 9801922 w 9801922"/>
              <a:gd name="connsiteY4" fmla="*/ 0 h 4449337"/>
              <a:gd name="connsiteX0" fmla="*/ 0 w 9842592"/>
              <a:gd name="connsiteY0" fmla="*/ 3825091 h 3825091"/>
              <a:gd name="connsiteX1" fmla="*/ 2143982 w 9842592"/>
              <a:gd name="connsiteY1" fmla="*/ 2048275 h 3825091"/>
              <a:gd name="connsiteX2" fmla="*/ 8327004 w 9842592"/>
              <a:gd name="connsiteY2" fmla="*/ 927605 h 3825091"/>
              <a:gd name="connsiteX3" fmla="*/ 8035765 w 9842592"/>
              <a:gd name="connsiteY3" fmla="*/ 239614 h 3825091"/>
              <a:gd name="connsiteX4" fmla="*/ 9842592 w 9842592"/>
              <a:gd name="connsiteY4" fmla="*/ 0 h 3825091"/>
              <a:gd name="connsiteX0" fmla="*/ 0 w 9842592"/>
              <a:gd name="connsiteY0" fmla="*/ 3825422 h 3825422"/>
              <a:gd name="connsiteX1" fmla="*/ 2143982 w 9842592"/>
              <a:gd name="connsiteY1" fmla="*/ 2048606 h 3825422"/>
              <a:gd name="connsiteX2" fmla="*/ 8327004 w 9842592"/>
              <a:gd name="connsiteY2" fmla="*/ 927936 h 3825422"/>
              <a:gd name="connsiteX3" fmla="*/ 8035765 w 9842592"/>
              <a:gd name="connsiteY3" fmla="*/ 239945 h 3825422"/>
              <a:gd name="connsiteX4" fmla="*/ 9842592 w 9842592"/>
              <a:gd name="connsiteY4" fmla="*/ 331 h 3825422"/>
              <a:gd name="connsiteX0" fmla="*/ 0 w 9842592"/>
              <a:gd name="connsiteY0" fmla="*/ 3825422 h 3825422"/>
              <a:gd name="connsiteX1" fmla="*/ 2143982 w 9842592"/>
              <a:gd name="connsiteY1" fmla="*/ 2048606 h 3825422"/>
              <a:gd name="connsiteX2" fmla="*/ 8327004 w 9842592"/>
              <a:gd name="connsiteY2" fmla="*/ 927936 h 3825422"/>
              <a:gd name="connsiteX3" fmla="*/ 8035765 w 9842592"/>
              <a:gd name="connsiteY3" fmla="*/ 239945 h 3825422"/>
              <a:gd name="connsiteX4" fmla="*/ 9842592 w 9842592"/>
              <a:gd name="connsiteY4" fmla="*/ 331 h 3825422"/>
              <a:gd name="connsiteX0" fmla="*/ 0 w 9842592"/>
              <a:gd name="connsiteY0" fmla="*/ 3825422 h 3825422"/>
              <a:gd name="connsiteX1" fmla="*/ 2143982 w 9842592"/>
              <a:gd name="connsiteY1" fmla="*/ 2048606 h 3825422"/>
              <a:gd name="connsiteX2" fmla="*/ 8327004 w 9842592"/>
              <a:gd name="connsiteY2" fmla="*/ 927936 h 3825422"/>
              <a:gd name="connsiteX3" fmla="*/ 8035765 w 9842592"/>
              <a:gd name="connsiteY3" fmla="*/ 239945 h 3825422"/>
              <a:gd name="connsiteX4" fmla="*/ 9842592 w 9842592"/>
              <a:gd name="connsiteY4" fmla="*/ 331 h 3825422"/>
              <a:gd name="connsiteX0" fmla="*/ 0 w 9842592"/>
              <a:gd name="connsiteY0" fmla="*/ 3825422 h 3825422"/>
              <a:gd name="connsiteX1" fmla="*/ 2143982 w 9842592"/>
              <a:gd name="connsiteY1" fmla="*/ 2048606 h 3825422"/>
              <a:gd name="connsiteX2" fmla="*/ 8327004 w 9842592"/>
              <a:gd name="connsiteY2" fmla="*/ 927936 h 3825422"/>
              <a:gd name="connsiteX3" fmla="*/ 8035765 w 9842592"/>
              <a:gd name="connsiteY3" fmla="*/ 239945 h 3825422"/>
              <a:gd name="connsiteX4" fmla="*/ 9842592 w 9842592"/>
              <a:gd name="connsiteY4" fmla="*/ 331 h 3825422"/>
              <a:gd name="connsiteX0" fmla="*/ 0 w 9842592"/>
              <a:gd name="connsiteY0" fmla="*/ 3825469 h 3825469"/>
              <a:gd name="connsiteX1" fmla="*/ 2143982 w 9842592"/>
              <a:gd name="connsiteY1" fmla="*/ 2048653 h 3825469"/>
              <a:gd name="connsiteX2" fmla="*/ 8235498 w 9842592"/>
              <a:gd name="connsiteY2" fmla="*/ 1003323 h 3825469"/>
              <a:gd name="connsiteX3" fmla="*/ 8035765 w 9842592"/>
              <a:gd name="connsiteY3" fmla="*/ 239992 h 3825469"/>
              <a:gd name="connsiteX4" fmla="*/ 9842592 w 9842592"/>
              <a:gd name="connsiteY4" fmla="*/ 378 h 3825469"/>
              <a:gd name="connsiteX0" fmla="*/ 0 w 9842592"/>
              <a:gd name="connsiteY0" fmla="*/ 3825469 h 3825469"/>
              <a:gd name="connsiteX1" fmla="*/ 2143982 w 9842592"/>
              <a:gd name="connsiteY1" fmla="*/ 2048653 h 3825469"/>
              <a:gd name="connsiteX2" fmla="*/ 8235498 w 9842592"/>
              <a:gd name="connsiteY2" fmla="*/ 1003323 h 3825469"/>
              <a:gd name="connsiteX3" fmla="*/ 8035765 w 9842592"/>
              <a:gd name="connsiteY3" fmla="*/ 239992 h 3825469"/>
              <a:gd name="connsiteX4" fmla="*/ 9842592 w 9842592"/>
              <a:gd name="connsiteY4" fmla="*/ 378 h 3825469"/>
              <a:gd name="connsiteX0" fmla="*/ 0 w 9842592"/>
              <a:gd name="connsiteY0" fmla="*/ 3825435 h 3825435"/>
              <a:gd name="connsiteX1" fmla="*/ 2143982 w 9842592"/>
              <a:gd name="connsiteY1" fmla="*/ 2048619 h 3825435"/>
              <a:gd name="connsiteX2" fmla="*/ 8235498 w 9842592"/>
              <a:gd name="connsiteY2" fmla="*/ 949474 h 3825435"/>
              <a:gd name="connsiteX3" fmla="*/ 8035765 w 9842592"/>
              <a:gd name="connsiteY3" fmla="*/ 239958 h 3825435"/>
              <a:gd name="connsiteX4" fmla="*/ 9842592 w 9842592"/>
              <a:gd name="connsiteY4" fmla="*/ 344 h 3825435"/>
              <a:gd name="connsiteX0" fmla="*/ 0 w 9842592"/>
              <a:gd name="connsiteY0" fmla="*/ 3825435 h 3825435"/>
              <a:gd name="connsiteX1" fmla="*/ 2143982 w 9842592"/>
              <a:gd name="connsiteY1" fmla="*/ 2048619 h 3825435"/>
              <a:gd name="connsiteX2" fmla="*/ 8235498 w 9842592"/>
              <a:gd name="connsiteY2" fmla="*/ 949474 h 3825435"/>
              <a:gd name="connsiteX3" fmla="*/ 8035765 w 9842592"/>
              <a:gd name="connsiteY3" fmla="*/ 239958 h 3825435"/>
              <a:gd name="connsiteX4" fmla="*/ 9842592 w 9842592"/>
              <a:gd name="connsiteY4" fmla="*/ 344 h 3825435"/>
              <a:gd name="connsiteX0" fmla="*/ 0 w 9842592"/>
              <a:gd name="connsiteY0" fmla="*/ 3825462 h 3825462"/>
              <a:gd name="connsiteX1" fmla="*/ 2143982 w 9842592"/>
              <a:gd name="connsiteY1" fmla="*/ 2048646 h 3825462"/>
              <a:gd name="connsiteX2" fmla="*/ 8225331 w 9842592"/>
              <a:gd name="connsiteY2" fmla="*/ 992552 h 3825462"/>
              <a:gd name="connsiteX3" fmla="*/ 8035765 w 9842592"/>
              <a:gd name="connsiteY3" fmla="*/ 239985 h 3825462"/>
              <a:gd name="connsiteX4" fmla="*/ 9842592 w 9842592"/>
              <a:gd name="connsiteY4" fmla="*/ 371 h 3825462"/>
              <a:gd name="connsiteX0" fmla="*/ 0 w 9842592"/>
              <a:gd name="connsiteY0" fmla="*/ 3825462 h 3825462"/>
              <a:gd name="connsiteX1" fmla="*/ 2143982 w 9842592"/>
              <a:gd name="connsiteY1" fmla="*/ 2048646 h 3825462"/>
              <a:gd name="connsiteX2" fmla="*/ 8225331 w 9842592"/>
              <a:gd name="connsiteY2" fmla="*/ 992552 h 3825462"/>
              <a:gd name="connsiteX3" fmla="*/ 8035765 w 9842592"/>
              <a:gd name="connsiteY3" fmla="*/ 239985 h 3825462"/>
              <a:gd name="connsiteX4" fmla="*/ 9842592 w 9842592"/>
              <a:gd name="connsiteY4" fmla="*/ 371 h 3825462"/>
              <a:gd name="connsiteX0" fmla="*/ 0 w 9842592"/>
              <a:gd name="connsiteY0" fmla="*/ 3825462 h 3825462"/>
              <a:gd name="connsiteX1" fmla="*/ 2143982 w 9842592"/>
              <a:gd name="connsiteY1" fmla="*/ 2048646 h 3825462"/>
              <a:gd name="connsiteX2" fmla="*/ 8225331 w 9842592"/>
              <a:gd name="connsiteY2" fmla="*/ 992552 h 3825462"/>
              <a:gd name="connsiteX3" fmla="*/ 8035765 w 9842592"/>
              <a:gd name="connsiteY3" fmla="*/ 239985 h 3825462"/>
              <a:gd name="connsiteX4" fmla="*/ 9842592 w 9842592"/>
              <a:gd name="connsiteY4" fmla="*/ 371 h 3825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842592" h="3825462">
                <a:moveTo>
                  <a:pt x="0" y="3825462"/>
                </a:moveTo>
                <a:cubicBezTo>
                  <a:pt x="30990" y="3236972"/>
                  <a:pt x="630750" y="2499273"/>
                  <a:pt x="2143982" y="2048646"/>
                </a:cubicBezTo>
                <a:cubicBezTo>
                  <a:pt x="3657214" y="1598019"/>
                  <a:pt x="6979016" y="1401625"/>
                  <a:pt x="8225331" y="992552"/>
                </a:cubicBezTo>
                <a:cubicBezTo>
                  <a:pt x="9471646" y="583479"/>
                  <a:pt x="7766222" y="405348"/>
                  <a:pt x="8035765" y="239985"/>
                </a:cubicBezTo>
                <a:cubicBezTo>
                  <a:pt x="8305308" y="74622"/>
                  <a:pt x="9358061" y="-6203"/>
                  <a:pt x="9842592" y="371"/>
                </a:cubicBezTo>
              </a:path>
            </a:pathLst>
          </a:custGeom>
          <a:noFill/>
          <a:ln w="47625">
            <a:gradFill>
              <a:gsLst>
                <a:gs pos="100000">
                  <a:srgbClr val="00FFB9"/>
                </a:gs>
                <a:gs pos="0">
                  <a:srgbClr val="00E6DC"/>
                </a:gs>
              </a:gsLst>
              <a:lin ang="5400000" scaled="1"/>
            </a:gra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ea typeface="ヒラギノ角ゴ Pro W3" charset="0"/>
            </a:endParaRPr>
          </a:p>
        </p:txBody>
      </p:sp>
      <p:sp>
        <p:nvSpPr>
          <p:cNvPr id="83" name="Text Box 90">
            <a:extLst>
              <a:ext uri="{FF2B5EF4-FFF2-40B4-BE49-F238E27FC236}">
                <a16:creationId xmlns:a16="http://schemas.microsoft.com/office/drawing/2014/main" id="{A3BA1C7C-7833-7446-90E2-6D7B35F2E42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126295" y="1414801"/>
            <a:ext cx="2700000" cy="576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>
            <a:sp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spcBef>
                <a:spcPts val="0"/>
              </a:spcBef>
              <a:defRPr/>
            </a:pPr>
            <a:r>
              <a:rPr lang="en-US" altLang="de-DE" sz="1600" b="1" dirty="0">
                <a:solidFill>
                  <a:srgbClr val="00FFB9"/>
                </a:solidFill>
                <a:latin typeface="+mn-lt"/>
                <a:ea typeface="Arial Unicode MS"/>
              </a:rPr>
              <a:t>Start of the competition</a:t>
            </a:r>
          </a:p>
          <a:p>
            <a:pPr algn="l">
              <a:spcBef>
                <a:spcPts val="0"/>
              </a:spcBef>
              <a:defRPr/>
            </a:pPr>
            <a:r>
              <a:rPr lang="en-US" altLang="de-DE" sz="1200" dirty="0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August 1, 2024</a:t>
            </a:r>
          </a:p>
        </p:txBody>
      </p:sp>
      <p:sp>
        <p:nvSpPr>
          <p:cNvPr id="84" name="Text Box 90">
            <a:extLst>
              <a:ext uri="{FF2B5EF4-FFF2-40B4-BE49-F238E27FC236}">
                <a16:creationId xmlns:a16="http://schemas.microsoft.com/office/drawing/2014/main" id="{001B648F-0560-AB4D-A475-68BE11717E9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797749" y="1428348"/>
            <a:ext cx="2340000" cy="822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>
            <a:sp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spcBef>
                <a:spcPts val="0"/>
              </a:spcBef>
              <a:defRPr/>
            </a:pPr>
            <a:r>
              <a:rPr lang="en-US" altLang="de-DE" sz="1600" b="1" dirty="0">
                <a:solidFill>
                  <a:srgbClr val="00FFB9"/>
                </a:solidFill>
                <a:latin typeface="+mn-lt"/>
                <a:ea typeface="Arial Unicode MS"/>
              </a:rPr>
              <a:t>Deadline for submissions</a:t>
            </a:r>
          </a:p>
          <a:p>
            <a:pPr algn="l">
              <a:spcBef>
                <a:spcPts val="0"/>
              </a:spcBef>
              <a:defRPr/>
            </a:pPr>
            <a:r>
              <a:rPr lang="en-US" altLang="de-DE" sz="1200" dirty="0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November 30, 2024</a:t>
            </a:r>
          </a:p>
        </p:txBody>
      </p:sp>
      <p:sp>
        <p:nvSpPr>
          <p:cNvPr id="85" name="Text Box 90">
            <a:extLst>
              <a:ext uri="{FF2B5EF4-FFF2-40B4-BE49-F238E27FC236}">
                <a16:creationId xmlns:a16="http://schemas.microsoft.com/office/drawing/2014/main" id="{BEC96CDE-01AC-C543-BA74-DB101DD4838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442250" y="1403865"/>
            <a:ext cx="2379932" cy="860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>
            <a:sp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spcBef>
                <a:spcPts val="0"/>
              </a:spcBef>
              <a:defRPr/>
            </a:pPr>
            <a:r>
              <a:rPr lang="en-US" altLang="de-DE" sz="1600" b="1" dirty="0">
                <a:solidFill>
                  <a:srgbClr val="00FFB9"/>
                </a:solidFill>
                <a:latin typeface="+mn-lt"/>
                <a:ea typeface="Arial Unicode MS"/>
              </a:rPr>
              <a:t>Results announced to winners</a:t>
            </a:r>
          </a:p>
          <a:p>
            <a:pPr marL="0" lvl="1" algn="l">
              <a:spcBef>
                <a:spcPts val="300"/>
              </a:spcBef>
              <a:buClr>
                <a:srgbClr val="3C464B"/>
              </a:buClr>
              <a:defRPr/>
            </a:pPr>
            <a:r>
              <a:rPr lang="en-US" sz="1200" dirty="0">
                <a:solidFill>
                  <a:srgbClr val="9999A9"/>
                </a:solidFill>
                <a:latin typeface="+mn-lt"/>
              </a:rPr>
              <a:t>By January 31, 2025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30916218-0FE7-DA40-850A-7231E8C46B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2"/>
                </a:solidFill>
              </a:rPr>
              <a:t>Competition timelin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6CCAFED-DB21-9F42-8899-2CC52FF29F2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 err="1"/>
              <a:t>Unr</a:t>
            </a:r>
            <a:r>
              <a:rPr lang="en-US" dirty="0" err="1"/>
              <a:t>estricted</a:t>
            </a:r>
            <a:r>
              <a:rPr lang="en-US" dirty="0"/>
              <a:t> | © Siemens 20</a:t>
            </a:r>
            <a:r>
              <a:rPr lang="cs-CZ" dirty="0"/>
              <a:t>2</a:t>
            </a:r>
            <a:r>
              <a:rPr lang="en-US" dirty="0"/>
              <a:t>4 | </a:t>
            </a:r>
            <a:r>
              <a:rPr lang="cs-CZ" dirty="0"/>
              <a:t>Communications</a:t>
            </a:r>
            <a:r>
              <a:rPr lang="en-US" dirty="0"/>
              <a:t> | </a:t>
            </a:r>
            <a:r>
              <a:rPr lang="cs-CZ" dirty="0"/>
              <a:t>202</a:t>
            </a:r>
            <a:r>
              <a:rPr lang="en-US" dirty="0"/>
              <a:t>4-</a:t>
            </a:r>
            <a:r>
              <a:rPr lang="cs-CZ" dirty="0"/>
              <a:t>08</a:t>
            </a:r>
            <a:r>
              <a:rPr lang="en-US" dirty="0"/>
              <a:t>-22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735936B-C854-8B47-A5D9-DD0428A75FF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15EBE321-CBB1-4E91-BD14-37C8D44326FB}" type="slidenum">
              <a:rPr lang="en-US" smtClean="0"/>
              <a:pPr/>
              <a:t>5</a:t>
            </a:fld>
            <a:endParaRPr lang="en-US" dirty="0"/>
          </a:p>
        </p:txBody>
      </p:sp>
      <p:cxnSp>
        <p:nvCxnSpPr>
          <p:cNvPr id="22" name="Gerade Verbindung 52">
            <a:extLst>
              <a:ext uri="{FF2B5EF4-FFF2-40B4-BE49-F238E27FC236}">
                <a16:creationId xmlns:a16="http://schemas.microsoft.com/office/drawing/2014/main" id="{70D7F7B6-C5FB-8B46-861D-D27C1AD2BF44}"/>
              </a:ext>
            </a:extLst>
          </p:cNvPr>
          <p:cNvCxnSpPr>
            <a:stCxn id="72" idx="0"/>
          </p:cNvCxnSpPr>
          <p:nvPr/>
        </p:nvCxnSpPr>
        <p:spPr bwMode="gray">
          <a:xfrm>
            <a:off x="9586106" y="3480714"/>
            <a:ext cx="518" cy="2695395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9999A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Gerade Verbindung 52">
            <a:extLst>
              <a:ext uri="{FF2B5EF4-FFF2-40B4-BE49-F238E27FC236}">
                <a16:creationId xmlns:a16="http://schemas.microsoft.com/office/drawing/2014/main" id="{C88757CC-7896-8144-9D17-944234C2263F}"/>
              </a:ext>
            </a:extLst>
          </p:cNvPr>
          <p:cNvCxnSpPr/>
          <p:nvPr/>
        </p:nvCxnSpPr>
        <p:spPr bwMode="gray">
          <a:xfrm>
            <a:off x="5700793" y="4170484"/>
            <a:ext cx="383" cy="2021921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9999A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Gerade Verbindung 52">
            <a:extLst>
              <a:ext uri="{FF2B5EF4-FFF2-40B4-BE49-F238E27FC236}">
                <a16:creationId xmlns:a16="http://schemas.microsoft.com/office/drawing/2014/main" id="{9A68F6AA-ABA5-FF4F-8DD0-86B83AE99BEC}"/>
              </a:ext>
            </a:extLst>
          </p:cNvPr>
          <p:cNvCxnSpPr/>
          <p:nvPr/>
        </p:nvCxnSpPr>
        <p:spPr bwMode="gray">
          <a:xfrm flipH="1">
            <a:off x="7382193" y="1430007"/>
            <a:ext cx="1663" cy="1993346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9999A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Gerade Verbindung 52">
            <a:extLst>
              <a:ext uri="{FF2B5EF4-FFF2-40B4-BE49-F238E27FC236}">
                <a16:creationId xmlns:a16="http://schemas.microsoft.com/office/drawing/2014/main" id="{D867D07B-6404-1744-AE60-3955EBA69E18}"/>
              </a:ext>
            </a:extLst>
          </p:cNvPr>
          <p:cNvCxnSpPr/>
          <p:nvPr/>
        </p:nvCxnSpPr>
        <p:spPr bwMode="gray">
          <a:xfrm>
            <a:off x="3766725" y="1439124"/>
            <a:ext cx="0" cy="2315716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9999A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Gerade Verbindung 27">
            <a:extLst>
              <a:ext uri="{FF2B5EF4-FFF2-40B4-BE49-F238E27FC236}">
                <a16:creationId xmlns:a16="http://schemas.microsoft.com/office/drawing/2014/main" id="{F4890CFC-74CB-9B46-8661-65A754EA8041}"/>
              </a:ext>
            </a:extLst>
          </p:cNvPr>
          <p:cNvCxnSpPr/>
          <p:nvPr/>
        </p:nvCxnSpPr>
        <p:spPr bwMode="gray">
          <a:xfrm flipH="1">
            <a:off x="1107766" y="1414801"/>
            <a:ext cx="18530" cy="3228914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rgbClr val="9999A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7" name="Text Box 90">
            <a:extLst>
              <a:ext uri="{FF2B5EF4-FFF2-40B4-BE49-F238E27FC236}">
                <a16:creationId xmlns:a16="http://schemas.microsoft.com/office/drawing/2014/main" id="{FB7490FA-DDE6-1547-BA4E-5C1AB798117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839855" y="5624559"/>
            <a:ext cx="2340000" cy="5762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 anchor="b">
            <a:sp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spcBef>
                <a:spcPts val="0"/>
              </a:spcBef>
              <a:defRPr/>
            </a:pPr>
            <a:r>
              <a:rPr lang="en-US" altLang="de-DE" sz="1600" b="1" dirty="0">
                <a:solidFill>
                  <a:srgbClr val="00FFB9"/>
                </a:solidFill>
                <a:latin typeface="+mn-lt"/>
                <a:ea typeface="Arial Unicode MS"/>
              </a:rPr>
              <a:t>Jury meeting</a:t>
            </a:r>
          </a:p>
          <a:p>
            <a:pPr algn="l">
              <a:spcBef>
                <a:spcPts val="0"/>
              </a:spcBef>
              <a:defRPr/>
            </a:pPr>
            <a:r>
              <a:rPr lang="en-US" altLang="de-DE" sz="1200" dirty="0">
                <a:solidFill>
                  <a:srgbClr val="9999A9"/>
                </a:solidFill>
                <a:latin typeface="+mn-lt"/>
                <a:ea typeface="Arial Unicode MS"/>
                <a:cs typeface="Arial" pitchFamily="34" charset="0"/>
              </a:rPr>
              <a:t>January 16, 2025</a:t>
            </a:r>
          </a:p>
        </p:txBody>
      </p:sp>
      <p:sp>
        <p:nvSpPr>
          <p:cNvPr id="88" name="Text Box 90">
            <a:extLst>
              <a:ext uri="{FF2B5EF4-FFF2-40B4-BE49-F238E27FC236}">
                <a16:creationId xmlns:a16="http://schemas.microsoft.com/office/drawing/2014/main" id="{2D11EC4E-282F-2B4D-8D99-1AB961B5A16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590400" y="5353595"/>
            <a:ext cx="2196000" cy="8225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44000" tIns="72000" rIns="144000" bIns="72000" anchor="b">
            <a:spAutoFit/>
          </a:bodyPr>
          <a:lstStyle>
            <a:defPPr>
              <a:defRPr lang="de-DE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ctr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algn="l">
              <a:spcBef>
                <a:spcPts val="0"/>
              </a:spcBef>
              <a:defRPr/>
            </a:pPr>
            <a:r>
              <a:rPr lang="en-US" altLang="de-DE" sz="1600" b="1" dirty="0">
                <a:solidFill>
                  <a:srgbClr val="00FFB9"/>
                </a:solidFill>
                <a:latin typeface="+mn-lt"/>
                <a:ea typeface="Arial Unicode MS"/>
              </a:rPr>
              <a:t>Ceremony in the Bethlehem Chapel</a:t>
            </a:r>
          </a:p>
          <a:p>
            <a:pPr algn="l">
              <a:spcBef>
                <a:spcPts val="0"/>
              </a:spcBef>
              <a:defRPr/>
            </a:pPr>
            <a:r>
              <a:rPr lang="en-US" sz="1200" dirty="0">
                <a:solidFill>
                  <a:srgbClr val="9999A9"/>
                </a:solidFill>
                <a:latin typeface="+mn-lt"/>
              </a:rPr>
              <a:t>March 19, 2025</a:t>
            </a:r>
          </a:p>
        </p:txBody>
      </p:sp>
      <p:grpSp>
        <p:nvGrpSpPr>
          <p:cNvPr id="58" name="Group 17">
            <a:extLst>
              <a:ext uri="{FF2B5EF4-FFF2-40B4-BE49-F238E27FC236}">
                <a16:creationId xmlns:a16="http://schemas.microsoft.com/office/drawing/2014/main" id="{A7EB058F-FF9B-45F4-A893-185B405E8F14}"/>
              </a:ext>
            </a:extLst>
          </p:cNvPr>
          <p:cNvGrpSpPr/>
          <p:nvPr/>
        </p:nvGrpSpPr>
        <p:grpSpPr>
          <a:xfrm>
            <a:off x="658178" y="3512393"/>
            <a:ext cx="900112" cy="1274439"/>
            <a:chOff x="734378" y="3537591"/>
            <a:chExt cx="900112" cy="1274439"/>
          </a:xfrm>
        </p:grpSpPr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3204C759-2AA2-4AF6-AFEF-36DD6AF56E20}"/>
                </a:ext>
              </a:extLst>
            </p:cNvPr>
            <p:cNvSpPr/>
            <p:nvPr/>
          </p:nvSpPr>
          <p:spPr bwMode="auto">
            <a:xfrm>
              <a:off x="734378" y="4552964"/>
              <a:ext cx="900112" cy="259066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60" name="Group 12">
              <a:extLst>
                <a:ext uri="{FF2B5EF4-FFF2-40B4-BE49-F238E27FC236}">
                  <a16:creationId xmlns:a16="http://schemas.microsoft.com/office/drawing/2014/main" id="{6CA7AD17-037E-42F5-8B63-0AB0C631BE3A}"/>
                </a:ext>
              </a:extLst>
            </p:cNvPr>
            <p:cNvGrpSpPr/>
            <p:nvPr/>
          </p:nvGrpSpPr>
          <p:grpSpPr>
            <a:xfrm>
              <a:off x="794963" y="3537591"/>
              <a:ext cx="778943" cy="1131322"/>
              <a:chOff x="115998" y="4766494"/>
              <a:chExt cx="778943" cy="1131322"/>
            </a:xfrm>
          </p:grpSpPr>
          <p:sp>
            <p:nvSpPr>
              <p:cNvPr id="62" name="Oval 61">
                <a:extLst>
                  <a:ext uri="{FF2B5EF4-FFF2-40B4-BE49-F238E27FC236}">
                    <a16:creationId xmlns:a16="http://schemas.microsoft.com/office/drawing/2014/main" id="{E306C5D4-A094-4520-8915-E37F7BDF6488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63" name="Freeform 26">
                <a:extLst>
                  <a:ext uri="{FF2B5EF4-FFF2-40B4-BE49-F238E27FC236}">
                    <a16:creationId xmlns:a16="http://schemas.microsoft.com/office/drawing/2014/main" id="{097A8953-1539-4333-9D6C-240F82E7BC9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998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E5E5E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90" name="Group 77">
            <a:extLst>
              <a:ext uri="{FF2B5EF4-FFF2-40B4-BE49-F238E27FC236}">
                <a16:creationId xmlns:a16="http://schemas.microsoft.com/office/drawing/2014/main" id="{88225A8B-19DC-43D0-B041-89158346EA17}"/>
              </a:ext>
            </a:extLst>
          </p:cNvPr>
          <p:cNvGrpSpPr/>
          <p:nvPr/>
        </p:nvGrpSpPr>
        <p:grpSpPr>
          <a:xfrm>
            <a:off x="3399015" y="3005049"/>
            <a:ext cx="735423" cy="1041261"/>
            <a:chOff x="734378" y="3537591"/>
            <a:chExt cx="900112" cy="1274439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id="{41DB4E81-B331-4F9F-9DD5-F328F4161FB3}"/>
                </a:ext>
              </a:extLst>
            </p:cNvPr>
            <p:cNvSpPr/>
            <p:nvPr/>
          </p:nvSpPr>
          <p:spPr bwMode="auto">
            <a:xfrm>
              <a:off x="734378" y="4552964"/>
              <a:ext cx="900112" cy="259066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92" name="Group 79">
              <a:extLst>
                <a:ext uri="{FF2B5EF4-FFF2-40B4-BE49-F238E27FC236}">
                  <a16:creationId xmlns:a16="http://schemas.microsoft.com/office/drawing/2014/main" id="{C84CD24D-ABB0-42BD-9ADD-235DE5735D8F}"/>
                </a:ext>
              </a:extLst>
            </p:cNvPr>
            <p:cNvGrpSpPr/>
            <p:nvPr/>
          </p:nvGrpSpPr>
          <p:grpSpPr>
            <a:xfrm>
              <a:off x="794961" y="3537591"/>
              <a:ext cx="778943" cy="1131322"/>
              <a:chOff x="115996" y="4766494"/>
              <a:chExt cx="778943" cy="1131322"/>
            </a:xfrm>
          </p:grpSpPr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7E4EED5D-9B17-472A-B003-61A6C8807C39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4" name="Freeform 26">
                <a:extLst>
                  <a:ext uri="{FF2B5EF4-FFF2-40B4-BE49-F238E27FC236}">
                    <a16:creationId xmlns:a16="http://schemas.microsoft.com/office/drawing/2014/main" id="{47F05637-96B2-4B38-ABE0-41A8F370ED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996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CCCC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95" name="Group 82">
            <a:extLst>
              <a:ext uri="{FF2B5EF4-FFF2-40B4-BE49-F238E27FC236}">
                <a16:creationId xmlns:a16="http://schemas.microsoft.com/office/drawing/2014/main" id="{3DCBE370-459C-4777-A8F8-B4892CB17D95}"/>
              </a:ext>
            </a:extLst>
          </p:cNvPr>
          <p:cNvGrpSpPr/>
          <p:nvPr/>
        </p:nvGrpSpPr>
        <p:grpSpPr>
          <a:xfrm>
            <a:off x="5324046" y="3412176"/>
            <a:ext cx="735423" cy="1041262"/>
            <a:chOff x="734379" y="3537591"/>
            <a:chExt cx="900112" cy="1274440"/>
          </a:xfrm>
        </p:grpSpPr>
        <p:sp>
          <p:nvSpPr>
            <p:cNvPr id="96" name="Oval 95">
              <a:extLst>
                <a:ext uri="{FF2B5EF4-FFF2-40B4-BE49-F238E27FC236}">
                  <a16:creationId xmlns:a16="http://schemas.microsoft.com/office/drawing/2014/main" id="{FFA55F68-44F1-478E-A16E-15E68A6DDC7F}"/>
                </a:ext>
              </a:extLst>
            </p:cNvPr>
            <p:cNvSpPr/>
            <p:nvPr/>
          </p:nvSpPr>
          <p:spPr bwMode="auto">
            <a:xfrm>
              <a:off x="734379" y="4552965"/>
              <a:ext cx="900112" cy="259066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97" name="Group 84">
              <a:extLst>
                <a:ext uri="{FF2B5EF4-FFF2-40B4-BE49-F238E27FC236}">
                  <a16:creationId xmlns:a16="http://schemas.microsoft.com/office/drawing/2014/main" id="{AD73D1D9-2B7C-45DD-949D-4E6AEA0850A4}"/>
                </a:ext>
              </a:extLst>
            </p:cNvPr>
            <p:cNvGrpSpPr/>
            <p:nvPr/>
          </p:nvGrpSpPr>
          <p:grpSpPr>
            <a:xfrm>
              <a:off x="794963" y="3537591"/>
              <a:ext cx="778943" cy="1131322"/>
              <a:chOff x="115998" y="4766494"/>
              <a:chExt cx="778943" cy="1131322"/>
            </a:xfrm>
          </p:grpSpPr>
          <p:sp>
            <p:nvSpPr>
              <p:cNvPr id="98" name="Oval 97">
                <a:extLst>
                  <a:ext uri="{FF2B5EF4-FFF2-40B4-BE49-F238E27FC236}">
                    <a16:creationId xmlns:a16="http://schemas.microsoft.com/office/drawing/2014/main" id="{B02A10CB-F786-40A3-9FCE-C992C605DCE3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99" name="Freeform 26">
                <a:extLst>
                  <a:ext uri="{FF2B5EF4-FFF2-40B4-BE49-F238E27FC236}">
                    <a16:creationId xmlns:a16="http://schemas.microsoft.com/office/drawing/2014/main" id="{D596FD4C-93F5-4A10-AD0E-F8C01CEA7F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15998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CCCCD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00" name="Group 87">
            <a:extLst>
              <a:ext uri="{FF2B5EF4-FFF2-40B4-BE49-F238E27FC236}">
                <a16:creationId xmlns:a16="http://schemas.microsoft.com/office/drawing/2014/main" id="{8721C03A-FA30-4766-B786-0266FF9B0676}"/>
              </a:ext>
            </a:extLst>
          </p:cNvPr>
          <p:cNvGrpSpPr/>
          <p:nvPr/>
        </p:nvGrpSpPr>
        <p:grpSpPr>
          <a:xfrm>
            <a:off x="7118467" y="2648701"/>
            <a:ext cx="541778" cy="852272"/>
            <a:chOff x="805109" y="3537591"/>
            <a:chExt cx="778943" cy="1225360"/>
          </a:xfrm>
        </p:grpSpPr>
        <p:sp>
          <p:nvSpPr>
            <p:cNvPr id="101" name="Oval 100">
              <a:extLst>
                <a:ext uri="{FF2B5EF4-FFF2-40B4-BE49-F238E27FC236}">
                  <a16:creationId xmlns:a16="http://schemas.microsoft.com/office/drawing/2014/main" id="{920D29E7-D1D7-48D7-8F4F-D0B7EE26DCF0}"/>
                </a:ext>
              </a:extLst>
            </p:cNvPr>
            <p:cNvSpPr/>
            <p:nvPr/>
          </p:nvSpPr>
          <p:spPr bwMode="auto">
            <a:xfrm>
              <a:off x="915048" y="4602042"/>
              <a:ext cx="559066" cy="160909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102" name="Group 89">
              <a:extLst>
                <a:ext uri="{FF2B5EF4-FFF2-40B4-BE49-F238E27FC236}">
                  <a16:creationId xmlns:a16="http://schemas.microsoft.com/office/drawing/2014/main" id="{9FC7D714-96F2-4D88-AF9E-05CB675100F6}"/>
                </a:ext>
              </a:extLst>
            </p:cNvPr>
            <p:cNvGrpSpPr/>
            <p:nvPr/>
          </p:nvGrpSpPr>
          <p:grpSpPr>
            <a:xfrm>
              <a:off x="805109" y="3537591"/>
              <a:ext cx="778943" cy="1131322"/>
              <a:chOff x="126144" y="4766494"/>
              <a:chExt cx="778943" cy="1131322"/>
            </a:xfrm>
          </p:grpSpPr>
          <p:sp>
            <p:nvSpPr>
              <p:cNvPr id="103" name="Oval 102">
                <a:extLst>
                  <a:ext uri="{FF2B5EF4-FFF2-40B4-BE49-F238E27FC236}">
                    <a16:creationId xmlns:a16="http://schemas.microsoft.com/office/drawing/2014/main" id="{76A2AE7B-6BB3-498C-BB57-E53DF543E4F9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4" name="Freeform 26">
                <a:extLst>
                  <a:ext uri="{FF2B5EF4-FFF2-40B4-BE49-F238E27FC236}">
                    <a16:creationId xmlns:a16="http://schemas.microsoft.com/office/drawing/2014/main" id="{9B293583-5E55-4A26-9267-2F6F98FC98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44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999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05" name="Group 92">
            <a:extLst>
              <a:ext uri="{FF2B5EF4-FFF2-40B4-BE49-F238E27FC236}">
                <a16:creationId xmlns:a16="http://schemas.microsoft.com/office/drawing/2014/main" id="{FDC82DF8-01BD-4578-8B64-F9BCAF7E056F}"/>
              </a:ext>
            </a:extLst>
          </p:cNvPr>
          <p:cNvGrpSpPr/>
          <p:nvPr/>
        </p:nvGrpSpPr>
        <p:grpSpPr>
          <a:xfrm>
            <a:off x="9315543" y="2693848"/>
            <a:ext cx="541778" cy="852272"/>
            <a:chOff x="805109" y="3537591"/>
            <a:chExt cx="778943" cy="1225360"/>
          </a:xfrm>
        </p:grpSpPr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85D07D04-820B-4041-A5B2-797650B8AA01}"/>
                </a:ext>
              </a:extLst>
            </p:cNvPr>
            <p:cNvSpPr/>
            <p:nvPr/>
          </p:nvSpPr>
          <p:spPr bwMode="auto">
            <a:xfrm>
              <a:off x="915048" y="4602042"/>
              <a:ext cx="559066" cy="160909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107" name="Group 94">
              <a:extLst>
                <a:ext uri="{FF2B5EF4-FFF2-40B4-BE49-F238E27FC236}">
                  <a16:creationId xmlns:a16="http://schemas.microsoft.com/office/drawing/2014/main" id="{9E933FF4-2C07-4554-9635-B8B32E61FFB1}"/>
                </a:ext>
              </a:extLst>
            </p:cNvPr>
            <p:cNvGrpSpPr/>
            <p:nvPr/>
          </p:nvGrpSpPr>
          <p:grpSpPr>
            <a:xfrm>
              <a:off x="805109" y="3537591"/>
              <a:ext cx="778943" cy="1131322"/>
              <a:chOff x="126144" y="4766494"/>
              <a:chExt cx="778943" cy="1131322"/>
            </a:xfrm>
          </p:grpSpPr>
          <p:sp>
            <p:nvSpPr>
              <p:cNvPr id="108" name="Oval 107">
                <a:extLst>
                  <a:ext uri="{FF2B5EF4-FFF2-40B4-BE49-F238E27FC236}">
                    <a16:creationId xmlns:a16="http://schemas.microsoft.com/office/drawing/2014/main" id="{18D31875-C177-4CB2-A304-65AE10EEF121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09" name="Freeform 26">
                <a:extLst>
                  <a:ext uri="{FF2B5EF4-FFF2-40B4-BE49-F238E27FC236}">
                    <a16:creationId xmlns:a16="http://schemas.microsoft.com/office/drawing/2014/main" id="{B26F2613-3130-43B0-8E5C-C4EEAB0B23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44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9999A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10" name="Group 97">
            <a:extLst>
              <a:ext uri="{FF2B5EF4-FFF2-40B4-BE49-F238E27FC236}">
                <a16:creationId xmlns:a16="http://schemas.microsoft.com/office/drawing/2014/main" id="{17C4C33B-00D4-4FCD-A855-C3AFEB5AEBB7}"/>
              </a:ext>
            </a:extLst>
          </p:cNvPr>
          <p:cNvGrpSpPr/>
          <p:nvPr/>
        </p:nvGrpSpPr>
        <p:grpSpPr>
          <a:xfrm>
            <a:off x="9719593" y="1686737"/>
            <a:ext cx="318572" cy="501146"/>
            <a:chOff x="805109" y="3537591"/>
            <a:chExt cx="778943" cy="1225360"/>
          </a:xfrm>
        </p:grpSpPr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2C87E847-9A72-449C-A8E0-59AB2DA1197F}"/>
                </a:ext>
              </a:extLst>
            </p:cNvPr>
            <p:cNvSpPr/>
            <p:nvPr/>
          </p:nvSpPr>
          <p:spPr bwMode="auto">
            <a:xfrm>
              <a:off x="915048" y="4602043"/>
              <a:ext cx="559067" cy="160908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112" name="Group 99">
              <a:extLst>
                <a:ext uri="{FF2B5EF4-FFF2-40B4-BE49-F238E27FC236}">
                  <a16:creationId xmlns:a16="http://schemas.microsoft.com/office/drawing/2014/main" id="{03DBD9F6-9D9F-4D23-BF22-D6CCD7B70BD9}"/>
                </a:ext>
              </a:extLst>
            </p:cNvPr>
            <p:cNvGrpSpPr/>
            <p:nvPr/>
          </p:nvGrpSpPr>
          <p:grpSpPr>
            <a:xfrm>
              <a:off x="805109" y="3537591"/>
              <a:ext cx="778943" cy="1131322"/>
              <a:chOff x="126144" y="4766494"/>
              <a:chExt cx="778943" cy="1131322"/>
            </a:xfrm>
          </p:grpSpPr>
          <p:sp>
            <p:nvSpPr>
              <p:cNvPr id="113" name="Oval 112">
                <a:extLst>
                  <a:ext uri="{FF2B5EF4-FFF2-40B4-BE49-F238E27FC236}">
                    <a16:creationId xmlns:a16="http://schemas.microsoft.com/office/drawing/2014/main" id="{BD94EF6D-BFBC-4817-ADB6-F62058127BE5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4" name="Freeform 26">
                <a:extLst>
                  <a:ext uri="{FF2B5EF4-FFF2-40B4-BE49-F238E27FC236}">
                    <a16:creationId xmlns:a16="http://schemas.microsoft.com/office/drawing/2014/main" id="{5E02A2A8-D34B-49D9-8346-D0E57A2916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44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6666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  <p:grpSp>
        <p:nvGrpSpPr>
          <p:cNvPr id="115" name="Group 102">
            <a:extLst>
              <a:ext uri="{FF2B5EF4-FFF2-40B4-BE49-F238E27FC236}">
                <a16:creationId xmlns:a16="http://schemas.microsoft.com/office/drawing/2014/main" id="{E6D3AA5F-1E26-4B33-88AC-B5E6F061AEC9}"/>
              </a:ext>
            </a:extLst>
          </p:cNvPr>
          <p:cNvGrpSpPr/>
          <p:nvPr/>
        </p:nvGrpSpPr>
        <p:grpSpPr>
          <a:xfrm>
            <a:off x="10667880" y="2134296"/>
            <a:ext cx="318572" cy="501146"/>
            <a:chOff x="805109" y="3537591"/>
            <a:chExt cx="778943" cy="1225360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id="{AE068974-7E31-4D76-8AD7-6E10F48CA41F}"/>
                </a:ext>
              </a:extLst>
            </p:cNvPr>
            <p:cNvSpPr/>
            <p:nvPr/>
          </p:nvSpPr>
          <p:spPr bwMode="auto">
            <a:xfrm>
              <a:off x="915048" y="4602043"/>
              <a:ext cx="559067" cy="160908"/>
            </a:xfrm>
            <a:prstGeom prst="ellipse">
              <a:avLst/>
            </a:prstGeom>
            <a:solidFill>
              <a:srgbClr val="333353"/>
            </a:solidFill>
            <a:ln>
              <a:noFill/>
            </a:ln>
            <a:effec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>
                <a:solidFill>
                  <a:schemeClr val="tx1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117" name="Group 104">
              <a:extLst>
                <a:ext uri="{FF2B5EF4-FFF2-40B4-BE49-F238E27FC236}">
                  <a16:creationId xmlns:a16="http://schemas.microsoft.com/office/drawing/2014/main" id="{247D9429-2169-4F1A-9695-53607BBDE8B3}"/>
                </a:ext>
              </a:extLst>
            </p:cNvPr>
            <p:cNvGrpSpPr/>
            <p:nvPr/>
          </p:nvGrpSpPr>
          <p:grpSpPr>
            <a:xfrm>
              <a:off x="805109" y="3537591"/>
              <a:ext cx="778943" cy="1131322"/>
              <a:chOff x="126144" y="4766494"/>
              <a:chExt cx="778943" cy="1131322"/>
            </a:xfrm>
          </p:grpSpPr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id="{1C534355-D89D-4B00-B7A4-8F24EE2BADC3}"/>
                  </a:ext>
                </a:extLst>
              </p:cNvPr>
              <p:cNvSpPr/>
              <p:nvPr/>
            </p:nvSpPr>
            <p:spPr bwMode="auto">
              <a:xfrm>
                <a:off x="268923" y="4905416"/>
                <a:ext cx="495212" cy="495212"/>
              </a:xfrm>
              <a:prstGeom prst="ellipse">
                <a:avLst/>
              </a:prstGeom>
              <a:solidFill>
                <a:schemeClr val="accent6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>
                  <a:solidFill>
                    <a:schemeClr val="tx1"/>
                  </a:solidFill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19" name="Freeform 26">
                <a:extLst>
                  <a:ext uri="{FF2B5EF4-FFF2-40B4-BE49-F238E27FC236}">
                    <a16:creationId xmlns:a16="http://schemas.microsoft.com/office/drawing/2014/main" id="{AD155BF2-152B-452D-8DA1-E6673C68CEC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6144" y="4766494"/>
                <a:ext cx="778943" cy="1131322"/>
              </a:xfrm>
              <a:custGeom>
                <a:avLst/>
                <a:gdLst>
                  <a:gd name="T0" fmla="*/ 415 w 831"/>
                  <a:gd name="T1" fmla="*/ 1210 h 1210"/>
                  <a:gd name="T2" fmla="*/ 771 w 831"/>
                  <a:gd name="T3" fmla="*/ 632 h 1210"/>
                  <a:gd name="T4" fmla="*/ 831 w 831"/>
                  <a:gd name="T5" fmla="*/ 416 h 1210"/>
                  <a:gd name="T6" fmla="*/ 415 w 831"/>
                  <a:gd name="T7" fmla="*/ 0 h 1210"/>
                  <a:gd name="T8" fmla="*/ 0 w 831"/>
                  <a:gd name="T9" fmla="*/ 416 h 1210"/>
                  <a:gd name="T10" fmla="*/ 60 w 831"/>
                  <a:gd name="T11" fmla="*/ 632 h 1210"/>
                  <a:gd name="T12" fmla="*/ 415 w 831"/>
                  <a:gd name="T13" fmla="*/ 1210 h 1210"/>
                  <a:gd name="T14" fmla="*/ 415 w 831"/>
                  <a:gd name="T15" fmla="*/ 227 h 1210"/>
                  <a:gd name="T16" fmla="*/ 604 w 831"/>
                  <a:gd name="T17" fmla="*/ 416 h 1210"/>
                  <a:gd name="T18" fmla="*/ 415 w 831"/>
                  <a:gd name="T19" fmla="*/ 605 h 1210"/>
                  <a:gd name="T20" fmla="*/ 226 w 831"/>
                  <a:gd name="T21" fmla="*/ 416 h 1210"/>
                  <a:gd name="T22" fmla="*/ 415 w 831"/>
                  <a:gd name="T23" fmla="*/ 227 h 1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1" h="1210">
                    <a:moveTo>
                      <a:pt x="415" y="1210"/>
                    </a:moveTo>
                    <a:cubicBezTo>
                      <a:pt x="771" y="632"/>
                      <a:pt x="771" y="632"/>
                      <a:pt x="771" y="632"/>
                    </a:cubicBezTo>
                    <a:cubicBezTo>
                      <a:pt x="809" y="569"/>
                      <a:pt x="831" y="495"/>
                      <a:pt x="831" y="416"/>
                    </a:cubicBezTo>
                    <a:cubicBezTo>
                      <a:pt x="831" y="186"/>
                      <a:pt x="645" y="0"/>
                      <a:pt x="415" y="0"/>
                    </a:cubicBezTo>
                    <a:cubicBezTo>
                      <a:pt x="186" y="0"/>
                      <a:pt x="0" y="186"/>
                      <a:pt x="0" y="416"/>
                    </a:cubicBezTo>
                    <a:cubicBezTo>
                      <a:pt x="0" y="495"/>
                      <a:pt x="22" y="569"/>
                      <a:pt x="60" y="632"/>
                    </a:cubicBezTo>
                    <a:lnTo>
                      <a:pt x="415" y="1210"/>
                    </a:lnTo>
                    <a:close/>
                    <a:moveTo>
                      <a:pt x="415" y="227"/>
                    </a:moveTo>
                    <a:cubicBezTo>
                      <a:pt x="520" y="227"/>
                      <a:pt x="604" y="312"/>
                      <a:pt x="604" y="416"/>
                    </a:cubicBezTo>
                    <a:cubicBezTo>
                      <a:pt x="604" y="520"/>
                      <a:pt x="520" y="605"/>
                      <a:pt x="415" y="605"/>
                    </a:cubicBezTo>
                    <a:cubicBezTo>
                      <a:pt x="311" y="605"/>
                      <a:pt x="226" y="520"/>
                      <a:pt x="226" y="416"/>
                    </a:cubicBezTo>
                    <a:cubicBezTo>
                      <a:pt x="226" y="312"/>
                      <a:pt x="311" y="227"/>
                      <a:pt x="415" y="227"/>
                    </a:cubicBezTo>
                    <a:close/>
                  </a:path>
                </a:pathLst>
              </a:custGeom>
              <a:solidFill>
                <a:srgbClr val="66667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67360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2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">
            <a:extLst>
              <a:ext uri="{FF2B5EF4-FFF2-40B4-BE49-F238E27FC236}">
                <a16:creationId xmlns:a16="http://schemas.microsoft.com/office/drawing/2014/main" id="{EF7BA6B8-2D49-49EE-AA38-401584ACB3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5400" dirty="0">
                <a:solidFill>
                  <a:schemeClr val="tx1"/>
                </a:solidFill>
              </a:rPr>
              <a:t>Contact</a:t>
            </a:r>
            <a:endParaRPr lang="cs-CZ" sz="5400" dirty="0">
              <a:solidFill>
                <a:schemeClr val="tx1"/>
              </a:solidFill>
            </a:endParaRPr>
          </a:p>
        </p:txBody>
      </p:sp>
      <p:sp>
        <p:nvSpPr>
          <p:cNvPr id="2" name="Footer Placeholder">
            <a:extLst>
              <a:ext uri="{FF2B5EF4-FFF2-40B4-BE49-F238E27FC236}">
                <a16:creationId xmlns:a16="http://schemas.microsoft.com/office/drawing/2014/main" id="{7D86EBFB-CE6A-4758-896A-AAD8E1D08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cs-CZ" dirty="0" err="1"/>
              <a:t>Unr</a:t>
            </a:r>
            <a:r>
              <a:rPr lang="en-US" dirty="0" err="1"/>
              <a:t>estricted</a:t>
            </a:r>
            <a:r>
              <a:rPr lang="en-US" dirty="0"/>
              <a:t> | © Siemens 20</a:t>
            </a:r>
            <a:r>
              <a:rPr lang="cs-CZ" dirty="0"/>
              <a:t>2</a:t>
            </a:r>
            <a:r>
              <a:rPr lang="en-US" dirty="0"/>
              <a:t>4 | </a:t>
            </a:r>
            <a:r>
              <a:rPr lang="cs-CZ" dirty="0"/>
              <a:t>Communications</a:t>
            </a:r>
            <a:r>
              <a:rPr lang="en-US" dirty="0"/>
              <a:t> | </a:t>
            </a:r>
            <a:r>
              <a:rPr lang="cs-CZ" dirty="0"/>
              <a:t>202</a:t>
            </a:r>
            <a:r>
              <a:rPr lang="en-US" dirty="0"/>
              <a:t>4-</a:t>
            </a:r>
            <a:r>
              <a:rPr lang="cs-CZ" dirty="0"/>
              <a:t>08</a:t>
            </a:r>
            <a:r>
              <a:rPr lang="en-US" dirty="0"/>
              <a:t>-22</a:t>
            </a:r>
          </a:p>
        </p:txBody>
      </p:sp>
      <p:sp>
        <p:nvSpPr>
          <p:cNvPr id="4" name="Slide Number Placeholder">
            <a:extLst>
              <a:ext uri="{FF2B5EF4-FFF2-40B4-BE49-F238E27FC236}">
                <a16:creationId xmlns:a16="http://schemas.microsoft.com/office/drawing/2014/main" id="{DEC03887-CC62-463B-9CCE-729F072DFB7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e </a:t>
            </a:r>
            <a:fld id="{15EBE321-CBB1-4E91-BD14-37C8D44326FB}" type="slidenum">
              <a:rPr kumimoji="0" lang="en-US" sz="9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A8C0B1B3-7902-4A0F-A274-1F5878B8197A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986400" y="2396849"/>
            <a:ext cx="9215438" cy="3409950"/>
          </a:xfrm>
        </p:spPr>
        <p:txBody>
          <a:bodyPr/>
          <a:lstStyle/>
          <a:p>
            <a:pPr marL="0" lvl="1" indent="0">
              <a:buNone/>
            </a:pPr>
            <a:r>
              <a:rPr lang="en-US" dirty="0"/>
              <a:t>Rules, categories, registration: </a:t>
            </a:r>
            <a:r>
              <a:rPr lang="en-US" dirty="0">
                <a:hlinkClick r:id="rId2"/>
              </a:rPr>
              <a:t>www.cenasiemens.cz</a:t>
            </a:r>
            <a:endParaRPr lang="en-US" dirty="0"/>
          </a:p>
          <a:p>
            <a:pPr marL="0" lvl="1" indent="0">
              <a:buNone/>
            </a:pPr>
            <a:r>
              <a:rPr lang="en-US" dirty="0"/>
              <a:t>E-mail: </a:t>
            </a:r>
            <a:r>
              <a:rPr lang="en-US" dirty="0">
                <a:hlinkClick r:id="rId3"/>
              </a:rPr>
              <a:t>cenasiemens.cz@siemens.com</a:t>
            </a:r>
            <a:r>
              <a:rPr lang="en-US" dirty="0"/>
              <a:t> </a:t>
            </a:r>
          </a:p>
          <a:p>
            <a:pPr lvl="1"/>
            <a:endParaRPr lang="en-US" dirty="0"/>
          </a:p>
          <a:p>
            <a:pPr marL="0" lvl="1" indent="0">
              <a:buNone/>
            </a:pPr>
            <a:r>
              <a:rPr lang="en-US" dirty="0"/>
              <a:t>Ing. Jaroslava Tomaskova</a:t>
            </a:r>
          </a:p>
          <a:p>
            <a:r>
              <a:rPr lang="en-US" dirty="0"/>
              <a:t>MarCom Project Manager</a:t>
            </a:r>
          </a:p>
          <a:p>
            <a:r>
              <a:rPr lang="en-US" dirty="0"/>
              <a:t>Communications</a:t>
            </a:r>
          </a:p>
          <a:p>
            <a:pPr marL="0" lvl="1" indent="0">
              <a:buNone/>
            </a:pPr>
            <a:r>
              <a:rPr lang="en-US" dirty="0"/>
              <a:t>Mobil: +420 733 140 240</a:t>
            </a:r>
          </a:p>
          <a:p>
            <a:pPr marL="0" lvl="1" indent="0">
              <a:buNone/>
            </a:pPr>
            <a:r>
              <a:rPr lang="en-US" dirty="0"/>
              <a:t>E-mail: </a:t>
            </a:r>
            <a:r>
              <a:rPr lang="en-US" dirty="0">
                <a:hlinkClick r:id="rId4"/>
              </a:rPr>
              <a:t>jaroslava.tomaskova@siemens.com</a:t>
            </a:r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401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RTAw5Ql347qeeRnL5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QIwiJAsUrr4L0VR2fz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RTAw5Ql347qeeRnL5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QIwiJAsUrr4L0VR2fz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0RTAw5Ql347qeeRnL5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QIwiJAsUrr4L0VR2fzV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Black">
      <a:srgbClr val="000000"/>
    </a:custClr>
    <a:custClr name="Light Sand">
      <a:srgbClr val="F3F3F0"/>
    </a:custClr>
    <a:custClr name="Siemens Petrol">
      <a:srgbClr val="009999"/>
    </a:custClr>
    <a:custClr name="Soft Green">
      <a:srgbClr val="00D7A0"/>
    </a:custClr>
    <a:custClr name="Soft Blue">
      <a:srgbClr val="00BEDC"/>
    </a:custClr>
    <a:custClr name="Bright Blue">
      <a:srgbClr val="0087BE"/>
    </a:custClr>
    <a:custClr name="Dark Blue">
      <a:srgbClr val="00557C"/>
    </a:custClr>
    <a:custClr name="Deep Blue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4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5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Siemens Petrol | 0 153 153">
      <a:srgbClr val="009999"/>
    </a:custClr>
    <a:custClr name="No color">
      <a:srgbClr val="FFFFFF"/>
    </a:custClr>
    <a:custClr name="Dark Blue | 0 85 124">
      <a:srgbClr val="00557C"/>
    </a:custClr>
    <a:custClr name="Dark Green | 0 100 110">
      <a:srgbClr val="00646E"/>
    </a:custClr>
    <a:custClr name="Dark Sand | 170 170 150">
      <a:srgbClr val="AAAA96"/>
    </a:custClr>
    <a:custClr name="Deep Blue | 0 0 40">
      <a:srgbClr val="000028"/>
    </a:custClr>
    <a:custClr name="Deep Blue 40% (Gray) | 153 153 169">
      <a:srgbClr val="9999A9"/>
    </a:custClr>
    <a:custClr name="Dark Purple | 80 0 120">
      <a:srgbClr val="500078"/>
    </a:custClr>
    <a:custClr name="Dark Orange | 236 102 2">
      <a:srgbClr val="EC6602"/>
    </a:custClr>
    <a:custClr name="Red | 239 1 55">
      <a:srgbClr val="EF0137"/>
    </a:custClr>
    <a:custClr name="Deep Blue | 0 0 40">
      <a:srgbClr val="000028"/>
    </a:custClr>
    <a:custClr name="No color">
      <a:srgbClr val="FFFFFF"/>
    </a:custClr>
    <a:custClr name="Blue | 0 135 190">
      <a:srgbClr val="0087BE"/>
    </a:custClr>
    <a:custClr name="Green | 0 175 142">
      <a:srgbClr val="00AF8E"/>
    </a:custClr>
    <a:custClr name="Soft Sand | 197 197 184">
      <a:srgbClr val="C5C5B8"/>
    </a:custClr>
    <a:custClr name="Deep Blue 80% | 51 51 83">
      <a:srgbClr val="333353"/>
    </a:custClr>
    <a:custClr name="Deep Blue 20% (Soft Gray) | 204 204 212">
      <a:srgbClr val="CCCCD4"/>
    </a:custClr>
    <a:custClr name="Purple | 170 50 190">
      <a:srgbClr val="AA32BE"/>
    </a:custClr>
    <a:custClr name="Orange | 255 144 0">
      <a:srgbClr val="FF9000"/>
    </a:custClr>
    <a:custClr name="Soft Red | 254 131 137">
      <a:srgbClr val="FE8389"/>
    </a:custClr>
    <a:custClr name="Light Sand | 243 243 240">
      <a:srgbClr val="F3F3F0"/>
    </a:custClr>
    <a:custClr name="No color">
      <a:srgbClr val="FFFFFF"/>
    </a:custClr>
    <a:custClr name="Soft Blue | 0 190 220">
      <a:srgbClr val="00BEDC"/>
    </a:custClr>
    <a:custClr name="Soft Green | 0 215 160">
      <a:srgbClr val="00D7A0"/>
    </a:custClr>
    <a:custClr name="Bright Sand | 223 223 217">
      <a:srgbClr val="DFDFD9"/>
    </a:custClr>
    <a:custClr name="Deep Blue 60% (Dark Gray) | 102 102 126">
      <a:srgbClr val="66667E"/>
    </a:custClr>
    <a:custClr name="Deep Blue 10% (Light Gray) | 229 229 233">
      <a:srgbClr val="E5E5E9"/>
    </a:custClr>
    <a:custClr name="Yellow | 255 215 50">
      <a:srgbClr val="FFD732"/>
    </a:custClr>
    <a:custClr name="Bold Green">
      <a:srgbClr val="00FFB9"/>
    </a:custClr>
    <a:custClr name="Bold Blue">
      <a:srgbClr val="00E6DC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Black">
      <a:srgbClr val="000000"/>
    </a:custClr>
    <a:custClr name="Light Sand">
      <a:srgbClr val="F3F3F0"/>
    </a:custClr>
    <a:custClr name="Siemens Petrol">
      <a:srgbClr val="009999"/>
    </a:custClr>
    <a:custClr name="Soft Green">
      <a:srgbClr val="00D7A0"/>
    </a:custClr>
    <a:custClr name="Soft Blue">
      <a:srgbClr val="00BEDC"/>
    </a:custClr>
    <a:custClr name="Bright Blue">
      <a:srgbClr val="0087BE"/>
    </a:custClr>
    <a:custClr name="Dark Blue">
      <a:srgbClr val="00557C"/>
    </a:custClr>
    <a:custClr name="Deep Blue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Siemens 2020">
  <a:themeElements>
    <a:clrScheme name="Siemens AG Theme Color">
      <a:dk1>
        <a:srgbClr val="000000"/>
      </a:dk1>
      <a:lt1>
        <a:sysClr val="window" lastClr="FFFFFF"/>
      </a:lt1>
      <a:dk2>
        <a:srgbClr val="000028"/>
      </a:dk2>
      <a:lt2>
        <a:srgbClr val="F3F3F0"/>
      </a:lt2>
      <a:accent1>
        <a:srgbClr val="009999"/>
      </a:accent1>
      <a:accent2>
        <a:srgbClr val="00D7A0"/>
      </a:accent2>
      <a:accent3>
        <a:srgbClr val="00BEDC"/>
      </a:accent3>
      <a:accent4>
        <a:srgbClr val="0087BE"/>
      </a:accent4>
      <a:accent5>
        <a:srgbClr val="00557C"/>
      </a:accent5>
      <a:accent6>
        <a:srgbClr val="000028"/>
      </a:accent6>
      <a:hlink>
        <a:srgbClr val="00BEDC"/>
      </a:hlink>
      <a:folHlink>
        <a:srgbClr val="0087BE"/>
      </a:folHlink>
    </a:clrScheme>
    <a:fontScheme name="Siemens AG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108000" tIns="72000" rIns="108000" bIns="72000" rtlCol="0" anchor="t" anchorCtr="0"/>
      <a:lstStyle>
        <a:defPPr algn="l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headEnd w="lg" len="lg"/>
          <a:tailEnd type="none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custClrLst>
    <a:custClr name="Dark Gray | 102 102 126">
      <a:srgbClr val="66667E"/>
    </a:custClr>
    <a:custClr name="Gray | 153 153 169">
      <a:srgbClr val="9999A9"/>
    </a:custClr>
    <a:custClr name="Soft Gray | 204 204 212">
      <a:srgbClr val="CCCCD4"/>
    </a:custClr>
    <a:custClr name="Light Gray | 229 229 233">
      <a:srgbClr val="E5E5E9"/>
    </a:custClr>
    <a:custClr name="Purple | 170 50 190">
      <a:srgbClr val="AA32BE"/>
    </a:custClr>
    <a:custClr name="Dark Purple | 80 0 120">
      <a:srgbClr val="500078"/>
    </a:custClr>
    <a:custClr name="Yellow | 255 215 50">
      <a:srgbClr val="FFD732"/>
    </a:custClr>
    <a:custClr name="Orange | 255 144 0">
      <a:srgbClr val="FF9000"/>
    </a:custClr>
    <a:custClr name="Soft Red | 254 131 137">
      <a:srgbClr val="FE8389"/>
    </a:custClr>
    <a:custClr name="Red | 239 1 55">
      <a:srgbClr val="EF0137"/>
    </a:custClr>
    <a:custClr name="Bold Green | For creation of the Focus Line">
      <a:srgbClr val="00FFB9"/>
    </a:custClr>
    <a:custClr name="Bold Blue | For creation of the Focus Line">
      <a:srgbClr val="00E6DC"/>
    </a:custClr>
    <a:custClr name="Black">
      <a:srgbClr val="000000"/>
    </a:custClr>
    <a:custClr name="Light Sand">
      <a:srgbClr val="F3F3F0"/>
    </a:custClr>
    <a:custClr name="Siemens Petrol">
      <a:srgbClr val="009999"/>
    </a:custClr>
    <a:custClr name="Soft Green">
      <a:srgbClr val="00D7A0"/>
    </a:custClr>
    <a:custClr name="Soft Blue">
      <a:srgbClr val="00BEDC"/>
    </a:custClr>
    <a:custClr name="Bright Blue">
      <a:srgbClr val="0087BE"/>
    </a:custClr>
    <a:custClr name="Dark Blue">
      <a:srgbClr val="00557C"/>
    </a:custClr>
    <a:custClr name="Deep Blue">
      <a:srgbClr val="00002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a59b6cd5-d141-4a33-8bf1-0ca04484304f}" enabled="1" method="Standard" siteId="{38ae3bcd-9579-4fd4-adda-b42e1495d55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518</Words>
  <Application>Microsoft Office PowerPoint</Application>
  <PresentationFormat>Widescreen</PresentationFormat>
  <Paragraphs>77</Paragraphs>
  <Slides>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7" baseType="lpstr">
      <vt:lpstr>Arial</vt:lpstr>
      <vt:lpstr>Arial Unicode MS</vt:lpstr>
      <vt:lpstr>Calibri</vt:lpstr>
      <vt:lpstr>Wingdings</vt:lpstr>
      <vt:lpstr>ヒラギノ角ゴ Pro W3</vt:lpstr>
      <vt:lpstr>1_Siemens 2020</vt:lpstr>
      <vt:lpstr>14_Siemens 2020</vt:lpstr>
      <vt:lpstr>15_Siemens 2020</vt:lpstr>
      <vt:lpstr>2_Siemens 2020</vt:lpstr>
      <vt:lpstr>3_Siemens 2020</vt:lpstr>
      <vt:lpstr>think-cell Folie</vt:lpstr>
      <vt:lpstr>PowerPoint Presentation</vt:lpstr>
      <vt:lpstr>Werner von Siemens Award About competition</vt:lpstr>
      <vt:lpstr>Werner von Siemens Award in figures</vt:lpstr>
      <vt:lpstr>Categories and Prizes</vt:lpstr>
      <vt:lpstr>Competition timeline</vt:lpstr>
      <vt:lpstr>Conta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Dolezalova, Adriana (RC-CZ CM MC)</dc:creator>
  <cp:lastModifiedBy>Tomášková, Jaroslava (RC-CZ CM MC)</cp:lastModifiedBy>
  <cp:revision>68</cp:revision>
  <dcterms:created xsi:type="dcterms:W3CDTF">2021-09-27T09:19:59Z</dcterms:created>
  <dcterms:modified xsi:type="dcterms:W3CDTF">2024-10-02T13:22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59b6cd5-d141-4a33-8bf1-0ca04484304f_Enabled">
    <vt:lpwstr>true</vt:lpwstr>
  </property>
  <property fmtid="{D5CDD505-2E9C-101B-9397-08002B2CF9AE}" pid="3" name="MSIP_Label_a59b6cd5-d141-4a33-8bf1-0ca04484304f_SetDate">
    <vt:lpwstr>2021-10-18T10:04:11Z</vt:lpwstr>
  </property>
  <property fmtid="{D5CDD505-2E9C-101B-9397-08002B2CF9AE}" pid="4" name="MSIP_Label_a59b6cd5-d141-4a33-8bf1-0ca04484304f_Method">
    <vt:lpwstr>Standard</vt:lpwstr>
  </property>
  <property fmtid="{D5CDD505-2E9C-101B-9397-08002B2CF9AE}" pid="5" name="MSIP_Label_a59b6cd5-d141-4a33-8bf1-0ca04484304f_Name">
    <vt:lpwstr>restricted-default</vt:lpwstr>
  </property>
  <property fmtid="{D5CDD505-2E9C-101B-9397-08002B2CF9AE}" pid="6" name="MSIP_Label_a59b6cd5-d141-4a33-8bf1-0ca04484304f_SiteId">
    <vt:lpwstr>38ae3bcd-9579-4fd4-adda-b42e1495d55a</vt:lpwstr>
  </property>
  <property fmtid="{D5CDD505-2E9C-101B-9397-08002B2CF9AE}" pid="7" name="MSIP_Label_a59b6cd5-d141-4a33-8bf1-0ca04484304f_ActionId">
    <vt:lpwstr>5b2750e4-2a63-487c-97a4-a32d59c48b61</vt:lpwstr>
  </property>
  <property fmtid="{D5CDD505-2E9C-101B-9397-08002B2CF9AE}" pid="8" name="MSIP_Label_a59b6cd5-d141-4a33-8bf1-0ca04484304f_ContentBits">
    <vt:lpwstr>0</vt:lpwstr>
  </property>
  <property fmtid="{D5CDD505-2E9C-101B-9397-08002B2CF9AE}" pid="9" name="Document_Confidentiality">
    <vt:lpwstr>Restricted</vt:lpwstr>
  </property>
</Properties>
</file>